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modernComment_7FFFFFF0_806829C3.xml" ContentType="application/vnd.ms-powerpoint.comment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  <p:sldMasterId id="2147483769" r:id="rId6"/>
  </p:sldMasterIdLst>
  <p:notesMasterIdLst>
    <p:notesMasterId r:id="rId30"/>
  </p:notesMasterIdLst>
  <p:sldIdLst>
    <p:sldId id="258" r:id="rId7"/>
    <p:sldId id="2147483628" r:id="rId8"/>
    <p:sldId id="2147483642" r:id="rId9"/>
    <p:sldId id="2147483643" r:id="rId10"/>
    <p:sldId id="2147480464" r:id="rId11"/>
    <p:sldId id="271" r:id="rId12"/>
    <p:sldId id="2147483632" r:id="rId13"/>
    <p:sldId id="2147483636" r:id="rId14"/>
    <p:sldId id="2147483637" r:id="rId15"/>
    <p:sldId id="2147483635" r:id="rId16"/>
    <p:sldId id="261" r:id="rId17"/>
    <p:sldId id="2147475185" r:id="rId18"/>
    <p:sldId id="2147483629" r:id="rId19"/>
    <p:sldId id="263" r:id="rId20"/>
    <p:sldId id="2147483617" r:id="rId21"/>
    <p:sldId id="2147483633" r:id="rId22"/>
    <p:sldId id="2147480466" r:id="rId23"/>
    <p:sldId id="2147474991" r:id="rId24"/>
    <p:sldId id="268" r:id="rId25"/>
    <p:sldId id="2147483641" r:id="rId26"/>
    <p:sldId id="2147475076" r:id="rId27"/>
    <p:sldId id="2147480460" r:id="rId28"/>
    <p:sldId id="2147478830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D0F521-30D5-AC4F-3FB0-4B9ECA7385E2}" name="Houck, Nicole [JRDUS]" initials="NH" userId="S::NHouck@its.jnj.com::cf73f140-c7dd-4a8b-a8be-45625fb678c5" providerId="AD"/>
  <p188:author id="{4BC80D3B-AED9-F61A-94A4-2596A288D1C2}" name="Houck, Nicole [JRDUS]" initials="HN" userId="S::nhouck@its.jnj.com::cf73f140-c7dd-4a8b-a8be-45625fb678c5" providerId="AD"/>
  <p188:author id="{00B69959-3636-9AEE-E226-860215FEFA71}" name="Marano, Colleen [JRDUS]" initials="CM" userId="S::CMarano@its.jnj.com::07a497d2-e36a-46df-8e41-4a405175d083" providerId="AD"/>
  <p188:author id="{28E7C965-7868-41FC-BB71-CFC6E807937D}" name="Heng, Li Jen [JRDMY]" initials="H[" userId="S::lheng1@its.jnj.com::36f037a3-286d-44fb-8e85-9bd17c685a34" providerId="AD"/>
  <p188:author id="{EF299F6A-1784-0912-432F-929EA3FA1872}" name="Van Duijnhoven, Wilbert [JRDBE]" initials="WV" userId="S::WVDUIJNH@its.jnj.com::b7a64494-d997-4a1b-8689-f8b4f16fe9d2" providerId="AD"/>
  <p188:author id="{C885B985-2E9E-313D-5367-EAB5730CEFB6}" name="Sullivan, Elizabeth   [JRDUS]" initials="S[" userId="S::esulliv8@its.jnj.com::a6923c01-2a18-4bc3-aca7-a513f09f7c44" providerId="AD"/>
  <p188:author id="{85FA4B8C-25D7-59CE-49FA-D157A72BBAAB}" name="Eche, Jenifer [JRDUS Non J&amp;J]" initials="JE" userId="S::JEche@its.jnj.com::10e588b5-e3b3-401d-a966-f18b645623ef" providerId="AD"/>
  <p188:author id="{D26563A9-F29C-692C-F193-588874B51CFB}" name="Alvarez, Yelina [JRDUS]" initials="AY" userId="S::yalvare9@its.jnj.com::2b2ad6ff-90f3-4131-8ac1-0c02d970d735" providerId="AD"/>
  <p188:author id="{D68F8FAE-4290-72EC-CC29-0E17835C1329}" name="Ranaudo, Jeanine [JRDUS]" initials="JR" userId="S::JRanaudo@its.jnj.com::bc358ce0-d4f1-4901-aa4b-d7c6acb213e4" providerId="AD"/>
  <p188:author id="{0EF9DDD3-D831-7554-E288-B711C7E94933}" name="Alvarez, Yelina [JRDUS]" initials="" userId="S::YAlvare9@its.jnj.com::2b2ad6ff-90f3-4131-8ac1-0c02d970d735" providerId="AD"/>
  <p188:author id="{115D50D5-E0CE-5773-E53C-3134B0C9E7FD}" name="Sullivan, Elizabeth   [JRDUS]" initials="ES" userId="S::ESulliv8@its.jnj.com::a6923c01-2a18-4bc3-aca7-a513f09f7c44" providerId="AD"/>
  <p188:author id="{712FE6E4-7EC4-BB2D-3C85-769E4DF31735}" name="Surace, Lindsey [JRDUS]" initials="SL" userId="S::lsurace@its.jnj.com::e67df201-2237-45d9-ab57-d2834e6412b8" providerId="AD"/>
  <p188:author id="{ED0286F5-55AB-CC35-D4AF-6905C29955E3}" name="Heng, Li Jen [JRDMY]" initials="LH" userId="S::LHeng1@its.jnj.com::36f037a3-286d-44fb-8e85-9bd17c685a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sumoto, Yudai [JRDJP]" userId="S::ymatsum5@its.jnj.com::a5270ee9-4796-4db9-a82f-82b7bcd6f017" providerId="AD" clId="Web-{688EC99F-0319-E15B-ED9E-A7375DDA1610}"/>
    <pc:docChg chg="addSld delSld">
      <pc:chgData name="Matsumoto, Yudai [JRDJP]" userId="S::ymatsum5@its.jnj.com::a5270ee9-4796-4db9-a82f-82b7bcd6f017" providerId="AD" clId="Web-{688EC99F-0319-E15B-ED9E-A7375DDA1610}" dt="2026-04-14T13:43:44.095" v="1"/>
      <pc:docMkLst>
        <pc:docMk/>
      </pc:docMkLst>
    </pc:docChg>
  </pc:docChgLst>
  <pc:docChgLst>
    <pc:chgData name="Salgado, Maria joão [JACPT]" userId="91f46530-b7d3-4365-9757-eef6e8e9c26f" providerId="ADAL" clId="{5607BC91-5D02-4B1D-8163-2D45F12BA0CC}"/>
    <pc:docChg chg="modSld">
      <pc:chgData name="Salgado, Maria joão [JACPT]" userId="91f46530-b7d3-4365-9757-eef6e8e9c26f" providerId="ADAL" clId="{5607BC91-5D02-4B1D-8163-2D45F12BA0CC}" dt="2026-05-14T14:16:37.209" v="1" actId="14100"/>
      <pc:docMkLst>
        <pc:docMk/>
      </pc:docMkLst>
      <pc:sldChg chg="modSp mod">
        <pc:chgData name="Salgado, Maria joão [JACPT]" userId="91f46530-b7d3-4365-9757-eef6e8e9c26f" providerId="ADAL" clId="{5607BC91-5D02-4B1D-8163-2D45F12BA0CC}" dt="2026-05-14T14:16:37.209" v="1" actId="14100"/>
        <pc:sldMkLst>
          <pc:docMk/>
          <pc:sldMk cId="4078493179" sldId="2147483633"/>
        </pc:sldMkLst>
        <pc:spChg chg="mod">
          <ac:chgData name="Salgado, Maria joão [JACPT]" userId="91f46530-b7d3-4365-9757-eef6e8e9c26f" providerId="ADAL" clId="{5607BC91-5D02-4B1D-8163-2D45F12BA0CC}" dt="2026-05-14T14:16:37.209" v="1" actId="14100"/>
          <ac:spMkLst>
            <pc:docMk/>
            <pc:sldMk cId="4078493179" sldId="2147483633"/>
            <ac:spMk id="6" creationId="{83BB705E-6D6D-56FC-EB1F-7853A99A55FA}"/>
          </ac:spMkLst>
        </pc:spChg>
      </pc:sldChg>
    </pc:docChg>
  </pc:docChgLst>
</pc:chgInfo>
</file>

<file path=ppt/comments/modernComment_7FFFFFF0_806829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2BA213E-F918-48DD-A452-F9990CF57C7E}" authorId="{D68F8FAE-4290-72EC-CC29-0E17835C1329}" status="resolved" created="2026-03-24T13:26:09.477" complete="100000">
    <pc:sldMkLst xmlns:pc="http://schemas.microsoft.com/office/powerpoint/2013/main/command">
      <pc:docMk/>
      <pc:sldMk cId="2154310083" sldId="2147483632"/>
    </pc:sldMkLst>
    <p188:replyLst>
      <p188:reply id="{9B05D020-6F60-4DBA-BEA7-07DF3BEE4C86}" authorId="{3FD0F521-30D5-AC4F-3FB0-4B9ECA7385E2}" created="2026-03-24T14:09:00.096">
        <p188:txBody>
          <a:bodyPr/>
          <a:lstStyle/>
          <a:p>
            <a:r>
              <a:rPr lang="en-US"/>
              <a:t>We did.  All good.</a:t>
            </a:r>
          </a:p>
        </p188:txBody>
      </p188:reply>
    </p188:replyLst>
    <p188:txBody>
      <a:bodyPr/>
      <a:lstStyle/>
      <a:p>
        <a:r>
          <a:rPr lang="en-US"/>
          <a:t>[@Alvarez, Yelina [JRDUS]]  [@Houck, Nicole [JRDUS]] please review/edit as you see fit
</a:t>
        </a:r>
      </a:p>
    </p188:txBody>
  </p188:cm>
</p188:cmLst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svg"/><Relationship Id="rId1" Type="http://schemas.openxmlformats.org/officeDocument/2006/relationships/hyperlink" Target="https://jnj-my.sharepoint.com/:x:/r/personal/esulliv8_its_jnj_com/_layouts/15/Doc.aspx?sourcedoc=%7BF55B8ABE-71C1-4CA0-94C1-F8D898476662%7D&amp;file=ICONIC_UC_H2H_country%20validation%20form_09Mar2026.xlsx&amp;fromShare=true&amp;action=default&amp;mobileredirect=true" TargetMode="External"/><Relationship Id="rId5" Type="http://schemas.openxmlformats.org/officeDocument/2006/relationships/image" Target="../media/image44.svg"/><Relationship Id="rId4" Type="http://schemas.openxmlformats.org/officeDocument/2006/relationships/image" Target="../media/image43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svg"/><Relationship Id="rId1" Type="http://schemas.openxmlformats.org/officeDocument/2006/relationships/hyperlink" Target="https://jnj-my.sharepoint.com/:x:/r/personal/esulliv8_its_jnj_com/_layouts/15/Doc.aspx?sourcedoc=%7BF55B8ABE-71C1-4CA0-94C1-F8D898476662%7D&amp;file=ICONIC_UC_H2H_country%20validation%20form_09Mar2026.xlsx&amp;fromShare=true&amp;action=default&amp;mobileredirect=true" TargetMode="External"/><Relationship Id="rId5" Type="http://schemas.openxmlformats.org/officeDocument/2006/relationships/image" Target="../media/image44.svg"/><Relationship Id="rId4" Type="http://schemas.openxmlformats.org/officeDocument/2006/relationships/image" Target="../media/image4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D37FF5-2652-4C3C-AEC9-E8983A3B83D6}" type="doc">
      <dgm:prSet loTypeId="urn:microsoft.com/office/officeart/2005/8/layout/hProcess11" loCatId="process" qsTypeId="urn:microsoft.com/office/officeart/2005/8/quickstyle/simple3" qsCatId="simple" csTypeId="urn:microsoft.com/office/officeart/2005/8/colors/accent1_1" csCatId="accent1" phldr="1"/>
      <dgm:spPr/>
    </dgm:pt>
    <dgm:pt modelId="{C81A9B4B-37AF-4E68-9D02-0016C1E46DE2}">
      <dgm:prSet phldrT="[Text]"/>
      <dgm:spPr/>
      <dgm:t>
        <a:bodyPr/>
        <a:lstStyle/>
        <a:p>
          <a:r>
            <a:rPr lang="en-US" b="1"/>
            <a:t>Country Outreach</a:t>
          </a:r>
        </a:p>
        <a:p>
          <a:r>
            <a:rPr lang="en-US" b="1"/>
            <a:t>Apr 2026</a:t>
          </a:r>
        </a:p>
      </dgm:t>
    </dgm:pt>
    <dgm:pt modelId="{63B7DE04-754E-49F7-BFA3-A8B54D1D5633}" type="parTrans" cxnId="{0892D993-7A51-46ED-81B8-3A7CCF7D5597}">
      <dgm:prSet/>
      <dgm:spPr/>
      <dgm:t>
        <a:bodyPr/>
        <a:lstStyle/>
        <a:p>
          <a:endParaRPr lang="en-US"/>
        </a:p>
      </dgm:t>
    </dgm:pt>
    <dgm:pt modelId="{930F930B-6C32-492E-8DFA-2CC1276B9997}" type="sibTrans" cxnId="{0892D993-7A51-46ED-81B8-3A7CCF7D5597}">
      <dgm:prSet/>
      <dgm:spPr/>
      <dgm:t>
        <a:bodyPr/>
        <a:lstStyle/>
        <a:p>
          <a:endParaRPr lang="en-US"/>
        </a:p>
      </dgm:t>
    </dgm:pt>
    <dgm:pt modelId="{2AC3CDDC-58D7-46ED-A46D-B46D690D1CA5}">
      <dgm:prSet phldrT="[Text]"/>
      <dgm:spPr/>
      <dgm:t>
        <a:bodyPr/>
        <a:lstStyle/>
        <a:p>
          <a:r>
            <a:rPr lang="en-US" b="1"/>
            <a:t>Site Outreach</a:t>
          </a:r>
          <a:endParaRPr lang="en-US" b="1">
            <a:latin typeface="Johnson Display"/>
          </a:endParaRPr>
        </a:p>
        <a:p>
          <a:pPr rtl="0"/>
          <a:r>
            <a:rPr lang="en-US" b="1">
              <a:latin typeface="Johnson Display"/>
            </a:rPr>
            <a:t>June/July 2026</a:t>
          </a:r>
          <a:endParaRPr lang="en-US" b="1"/>
        </a:p>
      </dgm:t>
    </dgm:pt>
    <dgm:pt modelId="{6E36FBCD-3998-4924-914D-32D4F62A56E2}" type="parTrans" cxnId="{4D1B7291-9670-4903-833F-215212C01C37}">
      <dgm:prSet/>
      <dgm:spPr/>
      <dgm:t>
        <a:bodyPr/>
        <a:lstStyle/>
        <a:p>
          <a:endParaRPr lang="en-US"/>
        </a:p>
      </dgm:t>
    </dgm:pt>
    <dgm:pt modelId="{D6402E1B-70EF-4884-B546-DE93CADB3B60}" type="sibTrans" cxnId="{4D1B7291-9670-4903-833F-215212C01C37}">
      <dgm:prSet/>
      <dgm:spPr/>
      <dgm:t>
        <a:bodyPr/>
        <a:lstStyle/>
        <a:p>
          <a:endParaRPr lang="en-US"/>
        </a:p>
      </dgm:t>
    </dgm:pt>
    <dgm:pt modelId="{47457991-D72A-45B3-A6DC-3803D079E975}">
      <dgm:prSet phldrT="[Text]"/>
      <dgm:spPr/>
      <dgm:t>
        <a:bodyPr/>
        <a:lstStyle/>
        <a:p>
          <a:r>
            <a:rPr lang="en-US" b="1"/>
            <a:t>FSO/FPI</a:t>
          </a:r>
        </a:p>
        <a:p>
          <a:r>
            <a:rPr lang="en-US" b="1"/>
            <a:t>Jan 2027</a:t>
          </a:r>
        </a:p>
      </dgm:t>
    </dgm:pt>
    <dgm:pt modelId="{8E1BBDB5-10FD-476A-8FD5-01DDD61A1F71}" type="parTrans" cxnId="{58F6BCE9-068F-4353-9CCC-7829C77115C4}">
      <dgm:prSet/>
      <dgm:spPr/>
      <dgm:t>
        <a:bodyPr/>
        <a:lstStyle/>
        <a:p>
          <a:endParaRPr lang="en-US"/>
        </a:p>
      </dgm:t>
    </dgm:pt>
    <dgm:pt modelId="{17915DF9-1581-4510-AB43-5EE662DD958C}" type="sibTrans" cxnId="{58F6BCE9-068F-4353-9CCC-7829C77115C4}">
      <dgm:prSet/>
      <dgm:spPr/>
      <dgm:t>
        <a:bodyPr/>
        <a:lstStyle/>
        <a:p>
          <a:endParaRPr lang="en-US"/>
        </a:p>
      </dgm:t>
    </dgm:pt>
    <dgm:pt modelId="{732D7E56-37C8-4AC3-A898-F44C717AB331}" type="pres">
      <dgm:prSet presAssocID="{C9D37FF5-2652-4C3C-AEC9-E8983A3B83D6}" presName="Name0" presStyleCnt="0">
        <dgm:presLayoutVars>
          <dgm:dir/>
          <dgm:resizeHandles val="exact"/>
        </dgm:presLayoutVars>
      </dgm:prSet>
      <dgm:spPr/>
    </dgm:pt>
    <dgm:pt modelId="{EE6B11B1-B52F-49E4-891C-139B307A049F}" type="pres">
      <dgm:prSet presAssocID="{C9D37FF5-2652-4C3C-AEC9-E8983A3B83D6}" presName="arrow" presStyleLbl="bgShp" presStyleIdx="0" presStyleCnt="1"/>
      <dgm:spPr/>
    </dgm:pt>
    <dgm:pt modelId="{22E344F3-7BE5-4A47-8ED3-B04ECF82BB01}" type="pres">
      <dgm:prSet presAssocID="{C9D37FF5-2652-4C3C-AEC9-E8983A3B83D6}" presName="points" presStyleCnt="0"/>
      <dgm:spPr/>
    </dgm:pt>
    <dgm:pt modelId="{B8D05F00-4727-47C1-9E65-9C55AF44C58E}" type="pres">
      <dgm:prSet presAssocID="{C81A9B4B-37AF-4E68-9D02-0016C1E46DE2}" presName="compositeA" presStyleCnt="0"/>
      <dgm:spPr/>
    </dgm:pt>
    <dgm:pt modelId="{5BBD648E-3723-48AE-BB8C-98C89A6E8DD5}" type="pres">
      <dgm:prSet presAssocID="{C81A9B4B-37AF-4E68-9D02-0016C1E46DE2}" presName="textA" presStyleLbl="revTx" presStyleIdx="0" presStyleCnt="3">
        <dgm:presLayoutVars>
          <dgm:bulletEnabled val="1"/>
        </dgm:presLayoutVars>
      </dgm:prSet>
      <dgm:spPr/>
    </dgm:pt>
    <dgm:pt modelId="{0D6C92DB-513E-4DBF-87E8-930D3597EE80}" type="pres">
      <dgm:prSet presAssocID="{C81A9B4B-37AF-4E68-9D02-0016C1E46DE2}" presName="circleA" presStyleLbl="node1" presStyleIdx="0" presStyleCnt="3"/>
      <dgm:spPr/>
    </dgm:pt>
    <dgm:pt modelId="{E0C95ADE-39ED-44A7-9D9D-1A89FDCAC346}" type="pres">
      <dgm:prSet presAssocID="{C81A9B4B-37AF-4E68-9D02-0016C1E46DE2}" presName="spaceA" presStyleCnt="0"/>
      <dgm:spPr/>
    </dgm:pt>
    <dgm:pt modelId="{68A3CDC6-E780-477A-9D78-0F24A1B8A0CF}" type="pres">
      <dgm:prSet presAssocID="{930F930B-6C32-492E-8DFA-2CC1276B9997}" presName="space" presStyleCnt="0"/>
      <dgm:spPr/>
    </dgm:pt>
    <dgm:pt modelId="{BADA786F-3AB5-426F-A561-26888F9F25F6}" type="pres">
      <dgm:prSet presAssocID="{2AC3CDDC-58D7-46ED-A46D-B46D690D1CA5}" presName="compositeB" presStyleCnt="0"/>
      <dgm:spPr/>
    </dgm:pt>
    <dgm:pt modelId="{F8772913-58D3-4C94-BC2C-A30213AC7B24}" type="pres">
      <dgm:prSet presAssocID="{2AC3CDDC-58D7-46ED-A46D-B46D690D1CA5}" presName="textB" presStyleLbl="revTx" presStyleIdx="1" presStyleCnt="3">
        <dgm:presLayoutVars>
          <dgm:bulletEnabled val="1"/>
        </dgm:presLayoutVars>
      </dgm:prSet>
      <dgm:spPr/>
    </dgm:pt>
    <dgm:pt modelId="{96F540A4-5C79-42EF-ACA5-62FD34585A33}" type="pres">
      <dgm:prSet presAssocID="{2AC3CDDC-58D7-46ED-A46D-B46D690D1CA5}" presName="circleB" presStyleLbl="node1" presStyleIdx="1" presStyleCnt="3"/>
      <dgm:spPr/>
    </dgm:pt>
    <dgm:pt modelId="{02AA5FEB-7077-4323-BF22-2B39B8650B8E}" type="pres">
      <dgm:prSet presAssocID="{2AC3CDDC-58D7-46ED-A46D-B46D690D1CA5}" presName="spaceB" presStyleCnt="0"/>
      <dgm:spPr/>
    </dgm:pt>
    <dgm:pt modelId="{1E20945F-8C4B-440A-B194-78943DBB68BC}" type="pres">
      <dgm:prSet presAssocID="{D6402E1B-70EF-4884-B546-DE93CADB3B60}" presName="space" presStyleCnt="0"/>
      <dgm:spPr/>
    </dgm:pt>
    <dgm:pt modelId="{9ECCE530-0143-4EC3-94FB-35CE0E9F373C}" type="pres">
      <dgm:prSet presAssocID="{47457991-D72A-45B3-A6DC-3803D079E975}" presName="compositeA" presStyleCnt="0"/>
      <dgm:spPr/>
    </dgm:pt>
    <dgm:pt modelId="{5884FE3B-49CD-4937-A1D8-774F66E913F2}" type="pres">
      <dgm:prSet presAssocID="{47457991-D72A-45B3-A6DC-3803D079E975}" presName="textA" presStyleLbl="revTx" presStyleIdx="2" presStyleCnt="3">
        <dgm:presLayoutVars>
          <dgm:bulletEnabled val="1"/>
        </dgm:presLayoutVars>
      </dgm:prSet>
      <dgm:spPr/>
    </dgm:pt>
    <dgm:pt modelId="{2B55C449-F1FA-4B80-8FDF-982FD37534F9}" type="pres">
      <dgm:prSet presAssocID="{47457991-D72A-45B3-A6DC-3803D079E975}" presName="circleA" presStyleLbl="node1" presStyleIdx="2" presStyleCnt="3"/>
      <dgm:spPr/>
    </dgm:pt>
    <dgm:pt modelId="{8084228E-3732-46DD-9BCB-A004FEEC6ECB}" type="pres">
      <dgm:prSet presAssocID="{47457991-D72A-45B3-A6DC-3803D079E975}" presName="spaceA" presStyleCnt="0"/>
      <dgm:spPr/>
    </dgm:pt>
  </dgm:ptLst>
  <dgm:cxnLst>
    <dgm:cxn modelId="{CE48B91D-800E-4A9E-9E60-E55A4F0916A3}" type="presOf" srcId="{2AC3CDDC-58D7-46ED-A46D-B46D690D1CA5}" destId="{F8772913-58D3-4C94-BC2C-A30213AC7B24}" srcOrd="0" destOrd="0" presId="urn:microsoft.com/office/officeart/2005/8/layout/hProcess11"/>
    <dgm:cxn modelId="{4D1B7291-9670-4903-833F-215212C01C37}" srcId="{C9D37FF5-2652-4C3C-AEC9-E8983A3B83D6}" destId="{2AC3CDDC-58D7-46ED-A46D-B46D690D1CA5}" srcOrd="1" destOrd="0" parTransId="{6E36FBCD-3998-4924-914D-32D4F62A56E2}" sibTransId="{D6402E1B-70EF-4884-B546-DE93CADB3B60}"/>
    <dgm:cxn modelId="{0892D993-7A51-46ED-81B8-3A7CCF7D5597}" srcId="{C9D37FF5-2652-4C3C-AEC9-E8983A3B83D6}" destId="{C81A9B4B-37AF-4E68-9D02-0016C1E46DE2}" srcOrd="0" destOrd="0" parTransId="{63B7DE04-754E-49F7-BFA3-A8B54D1D5633}" sibTransId="{930F930B-6C32-492E-8DFA-2CC1276B9997}"/>
    <dgm:cxn modelId="{BE6119BB-02A5-472A-A8F4-2856BBD50EA3}" type="presOf" srcId="{C81A9B4B-37AF-4E68-9D02-0016C1E46DE2}" destId="{5BBD648E-3723-48AE-BB8C-98C89A6E8DD5}" srcOrd="0" destOrd="0" presId="urn:microsoft.com/office/officeart/2005/8/layout/hProcess11"/>
    <dgm:cxn modelId="{B05329D1-A414-4273-BD4A-895A76348436}" type="presOf" srcId="{C9D37FF5-2652-4C3C-AEC9-E8983A3B83D6}" destId="{732D7E56-37C8-4AC3-A898-F44C717AB331}" srcOrd="0" destOrd="0" presId="urn:microsoft.com/office/officeart/2005/8/layout/hProcess11"/>
    <dgm:cxn modelId="{58F6BCE9-068F-4353-9CCC-7829C77115C4}" srcId="{C9D37FF5-2652-4C3C-AEC9-E8983A3B83D6}" destId="{47457991-D72A-45B3-A6DC-3803D079E975}" srcOrd="2" destOrd="0" parTransId="{8E1BBDB5-10FD-476A-8FD5-01DDD61A1F71}" sibTransId="{17915DF9-1581-4510-AB43-5EE662DD958C}"/>
    <dgm:cxn modelId="{C4242AF6-D9A2-42A3-8148-ADFE7859B3A4}" type="presOf" srcId="{47457991-D72A-45B3-A6DC-3803D079E975}" destId="{5884FE3B-49CD-4937-A1D8-774F66E913F2}" srcOrd="0" destOrd="0" presId="urn:microsoft.com/office/officeart/2005/8/layout/hProcess11"/>
    <dgm:cxn modelId="{1CFC2A29-644E-4CCD-A0CB-851E3ADB706A}" type="presParOf" srcId="{732D7E56-37C8-4AC3-A898-F44C717AB331}" destId="{EE6B11B1-B52F-49E4-891C-139B307A049F}" srcOrd="0" destOrd="0" presId="urn:microsoft.com/office/officeart/2005/8/layout/hProcess11"/>
    <dgm:cxn modelId="{912FF50F-3E27-4D91-8F18-3B6BE6781695}" type="presParOf" srcId="{732D7E56-37C8-4AC3-A898-F44C717AB331}" destId="{22E344F3-7BE5-4A47-8ED3-B04ECF82BB01}" srcOrd="1" destOrd="0" presId="urn:microsoft.com/office/officeart/2005/8/layout/hProcess11"/>
    <dgm:cxn modelId="{5E1FC0AB-9FF0-4509-BEDE-24E251B8E819}" type="presParOf" srcId="{22E344F3-7BE5-4A47-8ED3-B04ECF82BB01}" destId="{B8D05F00-4727-47C1-9E65-9C55AF44C58E}" srcOrd="0" destOrd="0" presId="urn:microsoft.com/office/officeart/2005/8/layout/hProcess11"/>
    <dgm:cxn modelId="{E31B8120-1E7A-434D-B696-C60706391709}" type="presParOf" srcId="{B8D05F00-4727-47C1-9E65-9C55AF44C58E}" destId="{5BBD648E-3723-48AE-BB8C-98C89A6E8DD5}" srcOrd="0" destOrd="0" presId="urn:microsoft.com/office/officeart/2005/8/layout/hProcess11"/>
    <dgm:cxn modelId="{7FBF00B4-2F35-4858-A564-C74768ABC0D5}" type="presParOf" srcId="{B8D05F00-4727-47C1-9E65-9C55AF44C58E}" destId="{0D6C92DB-513E-4DBF-87E8-930D3597EE80}" srcOrd="1" destOrd="0" presId="urn:microsoft.com/office/officeart/2005/8/layout/hProcess11"/>
    <dgm:cxn modelId="{3DAFB70A-F441-4A2A-B260-AC6D0ED4B559}" type="presParOf" srcId="{B8D05F00-4727-47C1-9E65-9C55AF44C58E}" destId="{E0C95ADE-39ED-44A7-9D9D-1A89FDCAC346}" srcOrd="2" destOrd="0" presId="urn:microsoft.com/office/officeart/2005/8/layout/hProcess11"/>
    <dgm:cxn modelId="{7120B6FA-6774-4F0E-A427-DB24062890D1}" type="presParOf" srcId="{22E344F3-7BE5-4A47-8ED3-B04ECF82BB01}" destId="{68A3CDC6-E780-477A-9D78-0F24A1B8A0CF}" srcOrd="1" destOrd="0" presId="urn:microsoft.com/office/officeart/2005/8/layout/hProcess11"/>
    <dgm:cxn modelId="{6C87E811-21E4-4593-8508-32185A71F2BA}" type="presParOf" srcId="{22E344F3-7BE5-4A47-8ED3-B04ECF82BB01}" destId="{BADA786F-3AB5-426F-A561-26888F9F25F6}" srcOrd="2" destOrd="0" presId="urn:microsoft.com/office/officeart/2005/8/layout/hProcess11"/>
    <dgm:cxn modelId="{46EFE5E5-10BF-4101-BE9C-6C2F5082F9F4}" type="presParOf" srcId="{BADA786F-3AB5-426F-A561-26888F9F25F6}" destId="{F8772913-58D3-4C94-BC2C-A30213AC7B24}" srcOrd="0" destOrd="0" presId="urn:microsoft.com/office/officeart/2005/8/layout/hProcess11"/>
    <dgm:cxn modelId="{554F789A-E75D-4A08-B6DA-350E41044107}" type="presParOf" srcId="{BADA786F-3AB5-426F-A561-26888F9F25F6}" destId="{96F540A4-5C79-42EF-ACA5-62FD34585A33}" srcOrd="1" destOrd="0" presId="urn:microsoft.com/office/officeart/2005/8/layout/hProcess11"/>
    <dgm:cxn modelId="{4D101C71-4E5B-4F34-95B1-FD0ADC9F4B33}" type="presParOf" srcId="{BADA786F-3AB5-426F-A561-26888F9F25F6}" destId="{02AA5FEB-7077-4323-BF22-2B39B8650B8E}" srcOrd="2" destOrd="0" presId="urn:microsoft.com/office/officeart/2005/8/layout/hProcess11"/>
    <dgm:cxn modelId="{B7C92873-2A3E-4F8F-A400-60CD22EA8613}" type="presParOf" srcId="{22E344F3-7BE5-4A47-8ED3-B04ECF82BB01}" destId="{1E20945F-8C4B-440A-B194-78943DBB68BC}" srcOrd="3" destOrd="0" presId="urn:microsoft.com/office/officeart/2005/8/layout/hProcess11"/>
    <dgm:cxn modelId="{AA22CEFD-5F07-4652-A7FD-0FB6DB4BE8DA}" type="presParOf" srcId="{22E344F3-7BE5-4A47-8ED3-B04ECF82BB01}" destId="{9ECCE530-0143-4EC3-94FB-35CE0E9F373C}" srcOrd="4" destOrd="0" presId="urn:microsoft.com/office/officeart/2005/8/layout/hProcess11"/>
    <dgm:cxn modelId="{1C484250-9168-4E35-8EBD-81C3A790BB60}" type="presParOf" srcId="{9ECCE530-0143-4EC3-94FB-35CE0E9F373C}" destId="{5884FE3B-49CD-4937-A1D8-774F66E913F2}" srcOrd="0" destOrd="0" presId="urn:microsoft.com/office/officeart/2005/8/layout/hProcess11"/>
    <dgm:cxn modelId="{716E66AA-34F2-4008-8668-01173ECE1079}" type="presParOf" srcId="{9ECCE530-0143-4EC3-94FB-35CE0E9F373C}" destId="{2B55C449-F1FA-4B80-8FDF-982FD37534F9}" srcOrd="1" destOrd="0" presId="urn:microsoft.com/office/officeart/2005/8/layout/hProcess11"/>
    <dgm:cxn modelId="{FE0DADCD-3D99-46DA-976C-30A7D3347E67}" type="presParOf" srcId="{9ECCE530-0143-4EC3-94FB-35CE0E9F373C}" destId="{8084228E-3732-46DD-9BCB-A004FEEC6EC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9B05328-4E92-4406-B6D0-74EE4721135A}" type="doc">
      <dgm:prSet loTypeId="urn:microsoft.com/office/officeart/2005/8/layout/vList3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1E1A6B96-BDFE-42DF-911B-FA6B251D496A}">
      <dgm:prSet phldrT="[Text]" custT="1"/>
      <dgm:spPr/>
      <dgm:t>
        <a:bodyPr anchor="ctr"/>
        <a:lstStyle/>
        <a:p>
          <a:pPr algn="l" rtl="0"/>
          <a:r>
            <a:rPr lang="en-US" sz="1600" u="sng">
              <a:latin typeface="+mj-lt"/>
            </a:rPr>
            <a:t>Please refer to this</a:t>
          </a:r>
          <a:r>
            <a:rPr lang="en-US" sz="1600" b="1" u="sng">
              <a:latin typeface="+mj-lt"/>
            </a:rPr>
            <a:t> </a:t>
          </a:r>
          <a:r>
            <a:rPr lang="en-US" sz="1600" b="1" u="sng">
              <a:latin typeface="+mj-lt"/>
              <a:hlinkClick xmlns:r="http://schemas.openxmlformats.org/officeDocument/2006/relationships" r:id="rId1"/>
            </a:rPr>
            <a:t>link</a:t>
          </a:r>
          <a:r>
            <a:rPr lang="en-US" sz="1600" b="1" u="sng">
              <a:latin typeface="+mj-lt"/>
            </a:rPr>
            <a:t> </a:t>
          </a:r>
          <a:r>
            <a:rPr lang="en-US" sz="1600" u="sng">
              <a:latin typeface="+mj-lt"/>
            </a:rPr>
            <a:t>to respond to questions and update and/or validate your country’s specific performance ranges</a:t>
          </a:r>
          <a:r>
            <a:rPr lang="en-US" sz="1600" u="none">
              <a:latin typeface="+mj-lt"/>
            </a:rPr>
            <a:t>. </a:t>
          </a:r>
          <a:r>
            <a:rPr lang="en-US" sz="1400" b="1">
              <a:latin typeface="+mj-lt"/>
            </a:rPr>
            <a:t>This information should help guide final commitments </a:t>
          </a:r>
          <a:r>
            <a:rPr lang="en-US" sz="1400">
              <a:latin typeface="+mj-lt"/>
            </a:rPr>
            <a:t>once site outreach has been completed and final country selections are made</a:t>
          </a:r>
        </a:p>
        <a:p>
          <a:pPr algn="l" rtl="0"/>
          <a:r>
            <a:rPr lang="en-US" sz="1600" u="sng">
              <a:latin typeface="+mj-lt"/>
            </a:rPr>
            <a:t>Please complete this validation by </a:t>
          </a:r>
          <a:r>
            <a:rPr lang="en-US" sz="1600" b="1" u="sng">
              <a:solidFill>
                <a:schemeClr val="accent4">
                  <a:lumMod val="60000"/>
                  <a:lumOff val="40000"/>
                </a:schemeClr>
              </a:solidFill>
              <a:latin typeface="+mj-lt"/>
              <a:ea typeface="+mj-lt"/>
              <a:cs typeface="+mj-lt"/>
            </a:rPr>
            <a:t>05May2025</a:t>
          </a:r>
          <a:endParaRPr lang="en-US" sz="1600" b="1" u="sng">
            <a:solidFill>
              <a:schemeClr val="accent4">
                <a:lumMod val="60000"/>
                <a:lumOff val="40000"/>
              </a:schemeClr>
            </a:solidFill>
            <a:highlight>
              <a:srgbClr val="FFFF00"/>
            </a:highlight>
            <a:latin typeface="Johnson Display"/>
            <a:ea typeface="+mj-lt"/>
            <a:cs typeface="+mj-lt"/>
          </a:endParaRPr>
        </a:p>
      </dgm:t>
    </dgm:pt>
    <dgm:pt modelId="{054B333B-CA2E-442A-80D4-438D3E88D10C}" type="parTrans" cxnId="{8A81E5F4-B408-4135-A68A-69D1B040010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D949E3E-0DA1-41F2-B348-E6A2F4D28740}" type="sibTrans" cxnId="{8A81E5F4-B408-4135-A68A-69D1B040010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FEBA31B-CD80-42B8-B0C1-0CC4FBEB067B}">
      <dgm:prSet phldrT="[Text]" custT="1"/>
      <dgm:spPr/>
      <dgm:t>
        <a:bodyPr anchor="ctr"/>
        <a:lstStyle/>
        <a:p>
          <a:pPr algn="l">
            <a:buFont typeface="+mj-lt"/>
            <a:buAutoNum type="arabicPeriod"/>
          </a:pPr>
          <a:r>
            <a:rPr lang="en-US" sz="1600" b="1">
              <a:latin typeface="+mj-lt"/>
            </a:rPr>
            <a:t>Baseline Lock </a:t>
          </a:r>
          <a:r>
            <a:rPr lang="en-US" sz="1600" b="1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December 2026</a:t>
          </a:r>
          <a:endParaRPr lang="en-US" sz="1600" b="1">
            <a:solidFill>
              <a:schemeClr val="accent4">
                <a:lumMod val="60000"/>
                <a:lumOff val="40000"/>
              </a:schemeClr>
            </a:solidFill>
            <a:highlight>
              <a:srgbClr val="FFFF00"/>
            </a:highlight>
          </a:endParaRPr>
        </a:p>
      </dgm:t>
    </dgm:pt>
    <dgm:pt modelId="{7E478B25-3A7D-4D0B-B3BF-CA0E53050A6A}" type="parTrans" cxnId="{1B96AED8-05F4-4ECE-9489-4244EDCFCAE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C358DC9-FF84-48C6-BF78-B327B987BB15}" type="sibTrans" cxnId="{1B96AED8-05F4-4ECE-9489-4244EDCFCAE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4CECC97-7D42-4D60-AFE8-D9CCB2E2940B}">
      <dgm:prSet custT="1"/>
      <dgm:spPr/>
      <dgm:t>
        <a:bodyPr anchor="ctr"/>
        <a:lstStyle/>
        <a:p>
          <a:pPr algn="l" rtl="0">
            <a:buFont typeface="+mj-lt"/>
            <a:buAutoNum type="arabicPeriod"/>
          </a:pPr>
          <a:r>
            <a:rPr lang="en-US" sz="1600" b="1">
              <a:latin typeface="+mj-lt"/>
            </a:rPr>
            <a:t>Site Outreach </a:t>
          </a:r>
          <a:r>
            <a:rPr lang="en-US" sz="1600">
              <a:latin typeface="+mj-lt"/>
            </a:rPr>
            <a:t>to launch in June and to conclude end of </a:t>
          </a:r>
          <a:r>
            <a:rPr lang="en-US" sz="1600" b="1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July 2026</a:t>
          </a:r>
          <a:endParaRPr lang="en-US" sz="1600">
            <a:solidFill>
              <a:schemeClr val="accent4">
                <a:lumMod val="60000"/>
                <a:lumOff val="40000"/>
              </a:schemeClr>
            </a:solidFill>
            <a:latin typeface="+mj-lt"/>
          </a:endParaRPr>
        </a:p>
      </dgm:t>
    </dgm:pt>
    <dgm:pt modelId="{11A64986-41AA-4DF4-AD02-F38AF251AA89}" type="parTrans" cxnId="{F90692DA-C955-48BE-BCC1-1D0A01CB94C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3C91FB7-6489-4B8F-916D-55D88DE9B002}" type="sibTrans" cxnId="{F90692DA-C955-48BE-BCC1-1D0A01CB94C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6C65E8B-4790-47EC-A2EA-A953ADD51FAF}">
      <dgm:prSet phldr="0" custT="1"/>
      <dgm:spPr/>
      <dgm:t>
        <a:bodyPr/>
        <a:lstStyle/>
        <a:p>
          <a:r>
            <a:rPr lang="en-US" sz="1600" b="1">
              <a:latin typeface="+mj-lt"/>
              <a:ea typeface="+mj-lt"/>
              <a:cs typeface="+mj-lt"/>
            </a:rPr>
            <a:t>Protocol</a:t>
          </a:r>
          <a:r>
            <a:rPr lang="en-US" sz="1600" b="1">
              <a:latin typeface="+mj-lt"/>
            </a:rPr>
            <a:t> Training and Site Feasibility Kick off Meeting </a:t>
          </a:r>
          <a:r>
            <a:rPr lang="en-US" sz="1600" b="1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week of 18May2026</a:t>
          </a:r>
          <a:endParaRPr lang="en-US" sz="1600">
            <a:latin typeface="+mj-lt"/>
            <a:ea typeface="+mj-lt"/>
            <a:cs typeface="+mj-lt"/>
          </a:endParaRPr>
        </a:p>
      </dgm:t>
    </dgm:pt>
    <dgm:pt modelId="{B758FC47-F2CE-4627-82C8-4B1E2B0E4314}" type="parTrans" cxnId="{AF89A77A-6D02-405E-8EA8-B3F3D385B0CA}">
      <dgm:prSet/>
      <dgm:spPr/>
      <dgm:t>
        <a:bodyPr/>
        <a:lstStyle/>
        <a:p>
          <a:endParaRPr lang="en-US"/>
        </a:p>
      </dgm:t>
    </dgm:pt>
    <dgm:pt modelId="{560B63EB-D5F8-44A2-995B-F3E6F9687C25}" type="sibTrans" cxnId="{AF89A77A-6D02-405E-8EA8-B3F3D385B0CA}">
      <dgm:prSet/>
      <dgm:spPr/>
      <dgm:t>
        <a:bodyPr/>
        <a:lstStyle/>
        <a:p>
          <a:endParaRPr lang="en-US"/>
        </a:p>
      </dgm:t>
    </dgm:pt>
    <dgm:pt modelId="{EA45E093-F504-4C79-A5E7-A597F643F619}" type="pres">
      <dgm:prSet presAssocID="{B9B05328-4E92-4406-B6D0-74EE4721135A}" presName="linearFlow" presStyleCnt="0">
        <dgm:presLayoutVars>
          <dgm:dir/>
          <dgm:resizeHandles val="exact"/>
        </dgm:presLayoutVars>
      </dgm:prSet>
      <dgm:spPr/>
    </dgm:pt>
    <dgm:pt modelId="{E766E483-7E86-47B9-881D-0927A92DB4DB}" type="pres">
      <dgm:prSet presAssocID="{1E1A6B96-BDFE-42DF-911B-FA6B251D496A}" presName="composite" presStyleCnt="0"/>
      <dgm:spPr/>
    </dgm:pt>
    <dgm:pt modelId="{1AFC4C2B-301B-4D3F-ACF1-80FB61ACE9F4}" type="pres">
      <dgm:prSet presAssocID="{1E1A6B96-BDFE-42DF-911B-FA6B251D496A}" presName="imgShp" presStyleLbl="fgImgPlace1" presStyleIdx="0" presStyleCnt="4" custLinFactNeighborX="-51713"/>
      <dgm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ustomer review outline"/>
        </a:ext>
      </dgm:extLst>
    </dgm:pt>
    <dgm:pt modelId="{3DA1B0C2-85A1-459A-89DE-AF63440C178C}" type="pres">
      <dgm:prSet presAssocID="{1E1A6B96-BDFE-42DF-911B-FA6B251D496A}" presName="txShp" presStyleLbl="node1" presStyleIdx="0" presStyleCnt="4" custScaleY="160949" custLinFactNeighborX="1268">
        <dgm:presLayoutVars>
          <dgm:bulletEnabled val="1"/>
        </dgm:presLayoutVars>
      </dgm:prSet>
      <dgm:spPr/>
    </dgm:pt>
    <dgm:pt modelId="{0101E023-EDEF-4C7B-BA15-B47B171DC0D5}" type="pres">
      <dgm:prSet presAssocID="{9D949E3E-0DA1-41F2-B348-E6A2F4D28740}" presName="spacing" presStyleCnt="0"/>
      <dgm:spPr/>
    </dgm:pt>
    <dgm:pt modelId="{028CE2AC-9243-44C4-9D90-CA6E20EFE791}" type="pres">
      <dgm:prSet presAssocID="{96C65E8B-4790-47EC-A2EA-A953ADD51FAF}" presName="composite" presStyleCnt="0"/>
      <dgm:spPr/>
    </dgm:pt>
    <dgm:pt modelId="{501A1277-DA7F-486E-9F40-6B1974A34E57}" type="pres">
      <dgm:prSet presAssocID="{96C65E8B-4790-47EC-A2EA-A953ADD51FAF}" presName="imgShp" presStyleLbl="fgImgPlace1" presStyleIdx="1" presStyleCnt="4" custLinFactNeighborX="-48050" custLinFactNeighborY="-7393"/>
      <dgm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eacher outline"/>
        </a:ext>
      </dgm:extLst>
    </dgm:pt>
    <dgm:pt modelId="{2A960FDA-F230-4DE6-9A0D-6E6DA1C7EBA6}" type="pres">
      <dgm:prSet presAssocID="{96C65E8B-4790-47EC-A2EA-A953ADD51FAF}" presName="txShp" presStyleLbl="node1" presStyleIdx="1" presStyleCnt="4" custLinFactNeighborX="1426" custLinFactNeighborY="-4942">
        <dgm:presLayoutVars>
          <dgm:bulletEnabled val="1"/>
        </dgm:presLayoutVars>
      </dgm:prSet>
      <dgm:spPr/>
    </dgm:pt>
    <dgm:pt modelId="{25362D85-F425-4F7C-9C7B-B09670D95369}" type="pres">
      <dgm:prSet presAssocID="{560B63EB-D5F8-44A2-995B-F3E6F9687C25}" presName="spacing" presStyleCnt="0"/>
      <dgm:spPr/>
    </dgm:pt>
    <dgm:pt modelId="{C0A50380-B7D9-4D26-B935-7487ED4EEF0E}" type="pres">
      <dgm:prSet presAssocID="{C4CECC97-7D42-4D60-AFE8-D9CCB2E2940B}" presName="composite" presStyleCnt="0"/>
      <dgm:spPr/>
    </dgm:pt>
    <dgm:pt modelId="{1BA99793-3D36-473D-8CFD-7C5C5A4F393D}" type="pres">
      <dgm:prSet presAssocID="{C4CECC97-7D42-4D60-AFE8-D9CCB2E2940B}" presName="imgShp" presStyleLbl="fgImgPlace1" presStyleIdx="2" presStyleCnt="4" custLinFactNeighborX="-46097" custLinFactNeighborY="-24179"/>
      <dgm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ocial network outline"/>
        </a:ext>
      </dgm:extLst>
    </dgm:pt>
    <dgm:pt modelId="{D5DE45FF-698B-4C41-B428-F828A21AE10D}" type="pres">
      <dgm:prSet presAssocID="{C4CECC97-7D42-4D60-AFE8-D9CCB2E2940B}" presName="txShp" presStyleLbl="node1" presStyleIdx="2" presStyleCnt="4" custScaleY="56924" custLinFactNeighborX="1843" custLinFactNeighborY="-23012">
        <dgm:presLayoutVars>
          <dgm:bulletEnabled val="1"/>
        </dgm:presLayoutVars>
      </dgm:prSet>
      <dgm:spPr/>
    </dgm:pt>
    <dgm:pt modelId="{7942C2B2-21F7-41D7-AF9A-FA545716454D}" type="pres">
      <dgm:prSet presAssocID="{B3C91FB7-6489-4B8F-916D-55D88DE9B002}" presName="spacing" presStyleCnt="0"/>
      <dgm:spPr/>
    </dgm:pt>
    <dgm:pt modelId="{8F96F9B8-7728-47C3-A2A5-F1101FCC436A}" type="pres">
      <dgm:prSet presAssocID="{FFEBA31B-CD80-42B8-B0C1-0CC4FBEB067B}" presName="composite" presStyleCnt="0"/>
      <dgm:spPr/>
    </dgm:pt>
    <dgm:pt modelId="{41BE8183-2F5C-40A6-98EE-1AE0B9B35B66}" type="pres">
      <dgm:prSet presAssocID="{FFEBA31B-CD80-42B8-B0C1-0CC4FBEB067B}" presName="imgShp" presStyleLbl="fgImgPlace1" presStyleIdx="3" presStyleCnt="4" custLinFactNeighborX="-45705" custLinFactNeighborY="-40478"/>
      <dgm:spPr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ock outline"/>
        </a:ext>
      </dgm:extLst>
    </dgm:pt>
    <dgm:pt modelId="{B4F9E32A-6026-436D-A75F-553A446E5EDA}" type="pres">
      <dgm:prSet presAssocID="{FFEBA31B-CD80-42B8-B0C1-0CC4FBEB067B}" presName="txShp" presStyleLbl="node1" presStyleIdx="3" presStyleCnt="4" custScaleY="58613" custLinFactNeighborX="1685" custLinFactNeighborY="-40312">
        <dgm:presLayoutVars>
          <dgm:bulletEnabled val="1"/>
        </dgm:presLayoutVars>
      </dgm:prSet>
      <dgm:spPr/>
    </dgm:pt>
  </dgm:ptLst>
  <dgm:cxnLst>
    <dgm:cxn modelId="{B8EC755D-B841-4F7A-9FA2-216ED681D775}" type="presOf" srcId="{B9B05328-4E92-4406-B6D0-74EE4721135A}" destId="{EA45E093-F504-4C79-A5E7-A597F643F619}" srcOrd="0" destOrd="0" presId="urn:microsoft.com/office/officeart/2005/8/layout/vList3"/>
    <dgm:cxn modelId="{E08FDC69-4253-46D4-9641-CAD091027909}" type="presOf" srcId="{1E1A6B96-BDFE-42DF-911B-FA6B251D496A}" destId="{3DA1B0C2-85A1-459A-89DE-AF63440C178C}" srcOrd="0" destOrd="0" presId="urn:microsoft.com/office/officeart/2005/8/layout/vList3"/>
    <dgm:cxn modelId="{AF89A77A-6D02-405E-8EA8-B3F3D385B0CA}" srcId="{B9B05328-4E92-4406-B6D0-74EE4721135A}" destId="{96C65E8B-4790-47EC-A2EA-A953ADD51FAF}" srcOrd="1" destOrd="0" parTransId="{B758FC47-F2CE-4627-82C8-4B1E2B0E4314}" sibTransId="{560B63EB-D5F8-44A2-995B-F3E6F9687C25}"/>
    <dgm:cxn modelId="{E08B0D91-4C64-4F4A-90C0-9B74BC302257}" type="presOf" srcId="{FFEBA31B-CD80-42B8-B0C1-0CC4FBEB067B}" destId="{B4F9E32A-6026-436D-A75F-553A446E5EDA}" srcOrd="0" destOrd="0" presId="urn:microsoft.com/office/officeart/2005/8/layout/vList3"/>
    <dgm:cxn modelId="{65DC3196-B47A-4683-A775-D423FFF9A145}" type="presOf" srcId="{96C65E8B-4790-47EC-A2EA-A953ADD51FAF}" destId="{2A960FDA-F230-4DE6-9A0D-6E6DA1C7EBA6}" srcOrd="0" destOrd="0" presId="urn:microsoft.com/office/officeart/2005/8/layout/vList3"/>
    <dgm:cxn modelId="{1B96AED8-05F4-4ECE-9489-4244EDCFCAE9}" srcId="{B9B05328-4E92-4406-B6D0-74EE4721135A}" destId="{FFEBA31B-CD80-42B8-B0C1-0CC4FBEB067B}" srcOrd="3" destOrd="0" parTransId="{7E478B25-3A7D-4D0B-B3BF-CA0E53050A6A}" sibTransId="{BC358DC9-FF84-48C6-BF78-B327B987BB15}"/>
    <dgm:cxn modelId="{F90692DA-C955-48BE-BCC1-1D0A01CB94C5}" srcId="{B9B05328-4E92-4406-B6D0-74EE4721135A}" destId="{C4CECC97-7D42-4D60-AFE8-D9CCB2E2940B}" srcOrd="2" destOrd="0" parTransId="{11A64986-41AA-4DF4-AD02-F38AF251AA89}" sibTransId="{B3C91FB7-6489-4B8F-916D-55D88DE9B002}"/>
    <dgm:cxn modelId="{F9AE96EF-3870-42A7-80FC-3B9B8E2FA4D6}" type="presOf" srcId="{C4CECC97-7D42-4D60-AFE8-D9CCB2E2940B}" destId="{D5DE45FF-698B-4C41-B428-F828A21AE10D}" srcOrd="0" destOrd="0" presId="urn:microsoft.com/office/officeart/2005/8/layout/vList3"/>
    <dgm:cxn modelId="{8A81E5F4-B408-4135-A68A-69D1B040010F}" srcId="{B9B05328-4E92-4406-B6D0-74EE4721135A}" destId="{1E1A6B96-BDFE-42DF-911B-FA6B251D496A}" srcOrd="0" destOrd="0" parTransId="{054B333B-CA2E-442A-80D4-438D3E88D10C}" sibTransId="{9D949E3E-0DA1-41F2-B348-E6A2F4D28740}"/>
    <dgm:cxn modelId="{EA2BEF9F-B320-45DD-BB88-073D79FB3473}" type="presParOf" srcId="{EA45E093-F504-4C79-A5E7-A597F643F619}" destId="{E766E483-7E86-47B9-881D-0927A92DB4DB}" srcOrd="0" destOrd="0" presId="urn:microsoft.com/office/officeart/2005/8/layout/vList3"/>
    <dgm:cxn modelId="{FB4F2491-CA56-436A-85AC-3F366EF1857E}" type="presParOf" srcId="{E766E483-7E86-47B9-881D-0927A92DB4DB}" destId="{1AFC4C2B-301B-4D3F-ACF1-80FB61ACE9F4}" srcOrd="0" destOrd="0" presId="urn:microsoft.com/office/officeart/2005/8/layout/vList3"/>
    <dgm:cxn modelId="{6401C329-5657-4263-9034-35FE8074EEC3}" type="presParOf" srcId="{E766E483-7E86-47B9-881D-0927A92DB4DB}" destId="{3DA1B0C2-85A1-459A-89DE-AF63440C178C}" srcOrd="1" destOrd="0" presId="urn:microsoft.com/office/officeart/2005/8/layout/vList3"/>
    <dgm:cxn modelId="{B0A96B60-8AC2-44B2-B6C0-397295DC57EF}" type="presParOf" srcId="{EA45E093-F504-4C79-A5E7-A597F643F619}" destId="{0101E023-EDEF-4C7B-BA15-B47B171DC0D5}" srcOrd="1" destOrd="0" presId="urn:microsoft.com/office/officeart/2005/8/layout/vList3"/>
    <dgm:cxn modelId="{35C844FD-3ECD-44AC-BF58-126E20FD77E2}" type="presParOf" srcId="{EA45E093-F504-4C79-A5E7-A597F643F619}" destId="{028CE2AC-9243-44C4-9D90-CA6E20EFE791}" srcOrd="2" destOrd="0" presId="urn:microsoft.com/office/officeart/2005/8/layout/vList3"/>
    <dgm:cxn modelId="{DA700B70-E4E3-439C-837E-0453CF46C09B}" type="presParOf" srcId="{028CE2AC-9243-44C4-9D90-CA6E20EFE791}" destId="{501A1277-DA7F-486E-9F40-6B1974A34E57}" srcOrd="0" destOrd="0" presId="urn:microsoft.com/office/officeart/2005/8/layout/vList3"/>
    <dgm:cxn modelId="{CE79D47D-ED61-4E21-A79B-D088E3153170}" type="presParOf" srcId="{028CE2AC-9243-44C4-9D90-CA6E20EFE791}" destId="{2A960FDA-F230-4DE6-9A0D-6E6DA1C7EBA6}" srcOrd="1" destOrd="0" presId="urn:microsoft.com/office/officeart/2005/8/layout/vList3"/>
    <dgm:cxn modelId="{B09D843B-073C-4BEF-B2BF-CEE755A1D8D8}" type="presParOf" srcId="{EA45E093-F504-4C79-A5E7-A597F643F619}" destId="{25362D85-F425-4F7C-9C7B-B09670D95369}" srcOrd="3" destOrd="0" presId="urn:microsoft.com/office/officeart/2005/8/layout/vList3"/>
    <dgm:cxn modelId="{388915C3-0030-4F9D-9A90-400AEFE318E1}" type="presParOf" srcId="{EA45E093-F504-4C79-A5E7-A597F643F619}" destId="{C0A50380-B7D9-4D26-B935-7487ED4EEF0E}" srcOrd="4" destOrd="0" presId="urn:microsoft.com/office/officeart/2005/8/layout/vList3"/>
    <dgm:cxn modelId="{A1B00663-E9D0-40E0-B4F2-03C3ACEAA76F}" type="presParOf" srcId="{C0A50380-B7D9-4D26-B935-7487ED4EEF0E}" destId="{1BA99793-3D36-473D-8CFD-7C5C5A4F393D}" srcOrd="0" destOrd="0" presId="urn:microsoft.com/office/officeart/2005/8/layout/vList3"/>
    <dgm:cxn modelId="{7A254336-AC8F-453A-8536-10826D73B342}" type="presParOf" srcId="{C0A50380-B7D9-4D26-B935-7487ED4EEF0E}" destId="{D5DE45FF-698B-4C41-B428-F828A21AE10D}" srcOrd="1" destOrd="0" presId="urn:microsoft.com/office/officeart/2005/8/layout/vList3"/>
    <dgm:cxn modelId="{04087152-8051-48FE-BD50-CD395B0F94E2}" type="presParOf" srcId="{EA45E093-F504-4C79-A5E7-A597F643F619}" destId="{7942C2B2-21F7-41D7-AF9A-FA545716454D}" srcOrd="5" destOrd="0" presId="urn:microsoft.com/office/officeart/2005/8/layout/vList3"/>
    <dgm:cxn modelId="{182CF7D6-024A-4342-9F96-FEFFA3C94329}" type="presParOf" srcId="{EA45E093-F504-4C79-A5E7-A597F643F619}" destId="{8F96F9B8-7728-47C3-A2A5-F1101FCC436A}" srcOrd="6" destOrd="0" presId="urn:microsoft.com/office/officeart/2005/8/layout/vList3"/>
    <dgm:cxn modelId="{3299C94B-F599-470A-9F59-AB38AF1667C0}" type="presParOf" srcId="{8F96F9B8-7728-47C3-A2A5-F1101FCC436A}" destId="{41BE8183-2F5C-40A6-98EE-1AE0B9B35B66}" srcOrd="0" destOrd="0" presId="urn:microsoft.com/office/officeart/2005/8/layout/vList3"/>
    <dgm:cxn modelId="{D2369677-0A11-4E1A-AAB4-28C527A9F2BB}" type="presParOf" srcId="{8F96F9B8-7728-47C3-A2A5-F1101FCC436A}" destId="{B4F9E32A-6026-436D-A75F-553A446E5ED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6B11B1-B52F-49E4-891C-139B307A049F}">
      <dsp:nvSpPr>
        <dsp:cNvPr id="0" name=""/>
        <dsp:cNvSpPr/>
      </dsp:nvSpPr>
      <dsp:spPr>
        <a:xfrm>
          <a:off x="0" y="758693"/>
          <a:ext cx="9043410" cy="1011591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BBD648E-3723-48AE-BB8C-98C89A6E8DD5}">
      <dsp:nvSpPr>
        <dsp:cNvPr id="0" name=""/>
        <dsp:cNvSpPr/>
      </dsp:nvSpPr>
      <dsp:spPr>
        <a:xfrm>
          <a:off x="3974" y="0"/>
          <a:ext cx="2622942" cy="1011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Country Outreach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Apr 2026</a:t>
          </a:r>
        </a:p>
      </dsp:txBody>
      <dsp:txXfrm>
        <a:off x="3974" y="0"/>
        <a:ext cx="2622942" cy="1011591"/>
      </dsp:txXfrm>
    </dsp:sp>
    <dsp:sp modelId="{0D6C92DB-513E-4DBF-87E8-930D3597EE80}">
      <dsp:nvSpPr>
        <dsp:cNvPr id="0" name=""/>
        <dsp:cNvSpPr/>
      </dsp:nvSpPr>
      <dsp:spPr>
        <a:xfrm>
          <a:off x="1188996" y="1138040"/>
          <a:ext cx="252897" cy="25289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8772913-58D3-4C94-BC2C-A30213AC7B24}">
      <dsp:nvSpPr>
        <dsp:cNvPr id="0" name=""/>
        <dsp:cNvSpPr/>
      </dsp:nvSpPr>
      <dsp:spPr>
        <a:xfrm>
          <a:off x="2758063" y="1517387"/>
          <a:ext cx="2622942" cy="1011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Site Outreach</a:t>
          </a:r>
          <a:endParaRPr lang="en-US" sz="2000" b="1" kern="1200">
            <a:latin typeface="Johnson Display"/>
          </a:endParaRPr>
        </a:p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latin typeface="Johnson Display"/>
            </a:rPr>
            <a:t>June/July 2026</a:t>
          </a:r>
          <a:endParaRPr lang="en-US" sz="2000" b="1" kern="1200"/>
        </a:p>
      </dsp:txBody>
      <dsp:txXfrm>
        <a:off x="2758063" y="1517387"/>
        <a:ext cx="2622942" cy="1011591"/>
      </dsp:txXfrm>
    </dsp:sp>
    <dsp:sp modelId="{96F540A4-5C79-42EF-ACA5-62FD34585A33}">
      <dsp:nvSpPr>
        <dsp:cNvPr id="0" name=""/>
        <dsp:cNvSpPr/>
      </dsp:nvSpPr>
      <dsp:spPr>
        <a:xfrm>
          <a:off x="3943085" y="1138040"/>
          <a:ext cx="252897" cy="25289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884FE3B-49CD-4937-A1D8-774F66E913F2}">
      <dsp:nvSpPr>
        <dsp:cNvPr id="0" name=""/>
        <dsp:cNvSpPr/>
      </dsp:nvSpPr>
      <dsp:spPr>
        <a:xfrm>
          <a:off x="5512152" y="0"/>
          <a:ext cx="2622942" cy="1011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FSO/FPI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Jan 2027</a:t>
          </a:r>
        </a:p>
      </dsp:txBody>
      <dsp:txXfrm>
        <a:off x="5512152" y="0"/>
        <a:ext cx="2622942" cy="1011591"/>
      </dsp:txXfrm>
    </dsp:sp>
    <dsp:sp modelId="{2B55C449-F1FA-4B80-8FDF-982FD37534F9}">
      <dsp:nvSpPr>
        <dsp:cNvPr id="0" name=""/>
        <dsp:cNvSpPr/>
      </dsp:nvSpPr>
      <dsp:spPr>
        <a:xfrm>
          <a:off x="6697174" y="1138040"/>
          <a:ext cx="252897" cy="25289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A1B0C2-85A1-459A-89DE-AF63440C178C}">
      <dsp:nvSpPr>
        <dsp:cNvPr id="0" name=""/>
        <dsp:cNvSpPr/>
      </dsp:nvSpPr>
      <dsp:spPr>
        <a:xfrm rot="10800000">
          <a:off x="2252427" y="3406"/>
          <a:ext cx="7591060" cy="157175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0634" tIns="60960" rIns="113792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u="sng" kern="1200">
              <a:latin typeface="+mj-lt"/>
            </a:rPr>
            <a:t>Please refer to this</a:t>
          </a:r>
          <a:r>
            <a:rPr lang="en-US" sz="1600" b="1" u="sng" kern="1200">
              <a:latin typeface="+mj-lt"/>
            </a:rPr>
            <a:t> </a:t>
          </a:r>
          <a:r>
            <a:rPr lang="en-US" sz="1600" b="1" u="sng" kern="1200">
              <a:latin typeface="+mj-lt"/>
              <a:hlinkClick xmlns:r="http://schemas.openxmlformats.org/officeDocument/2006/relationships" r:id="rId1"/>
            </a:rPr>
            <a:t>link</a:t>
          </a:r>
          <a:r>
            <a:rPr lang="en-US" sz="1600" b="1" u="sng" kern="1200">
              <a:latin typeface="+mj-lt"/>
            </a:rPr>
            <a:t> </a:t>
          </a:r>
          <a:r>
            <a:rPr lang="en-US" sz="1600" u="sng" kern="1200">
              <a:latin typeface="+mj-lt"/>
            </a:rPr>
            <a:t>to respond to questions and update and/or validate your country’s specific performance ranges</a:t>
          </a:r>
          <a:r>
            <a:rPr lang="en-US" sz="1600" u="none" kern="1200">
              <a:latin typeface="+mj-lt"/>
            </a:rPr>
            <a:t>. </a:t>
          </a:r>
          <a:r>
            <a:rPr lang="en-US" sz="1400" b="1" kern="1200">
              <a:latin typeface="+mj-lt"/>
            </a:rPr>
            <a:t>This information should help guide final commitments </a:t>
          </a:r>
          <a:r>
            <a:rPr lang="en-US" sz="1400" kern="1200">
              <a:latin typeface="+mj-lt"/>
            </a:rPr>
            <a:t>once site outreach has been completed and final country selections are made</a:t>
          </a:r>
        </a:p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u="sng" kern="1200">
              <a:latin typeface="+mj-lt"/>
            </a:rPr>
            <a:t>Please complete this validation by </a:t>
          </a:r>
          <a:r>
            <a:rPr lang="en-US" sz="1600" b="1" u="sng" kern="1200">
              <a:solidFill>
                <a:schemeClr val="accent4">
                  <a:lumMod val="60000"/>
                  <a:lumOff val="40000"/>
                </a:schemeClr>
              </a:solidFill>
              <a:latin typeface="+mj-lt"/>
              <a:ea typeface="+mj-lt"/>
              <a:cs typeface="+mj-lt"/>
            </a:rPr>
            <a:t>05May2025</a:t>
          </a:r>
          <a:endParaRPr lang="en-US" sz="1600" b="1" u="sng" kern="1200">
            <a:solidFill>
              <a:schemeClr val="accent4">
                <a:lumMod val="60000"/>
                <a:lumOff val="40000"/>
              </a:schemeClr>
            </a:solidFill>
            <a:highlight>
              <a:srgbClr val="FFFF00"/>
            </a:highlight>
            <a:latin typeface="Johnson Display"/>
            <a:ea typeface="+mj-lt"/>
            <a:cs typeface="+mj-lt"/>
          </a:endParaRPr>
        </a:p>
      </dsp:txBody>
      <dsp:txXfrm rot="10800000">
        <a:off x="2645366" y="3406"/>
        <a:ext cx="7198121" cy="1571757"/>
      </dsp:txXfrm>
    </dsp:sp>
    <dsp:sp modelId="{1AFC4C2B-301B-4D3F-ACF1-80FB61ACE9F4}">
      <dsp:nvSpPr>
        <dsp:cNvPr id="0" name=""/>
        <dsp:cNvSpPr/>
      </dsp:nvSpPr>
      <dsp:spPr>
        <a:xfrm>
          <a:off x="1162888" y="301007"/>
          <a:ext cx="976556" cy="976556"/>
        </a:xfrm>
        <a:prstGeom prst="ellipse">
          <a:avLst/>
        </a:prstGeom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960FDA-F230-4DE6-9A0D-6E6DA1C7EBA6}">
      <dsp:nvSpPr>
        <dsp:cNvPr id="0" name=""/>
        <dsp:cNvSpPr/>
      </dsp:nvSpPr>
      <dsp:spPr>
        <a:xfrm rot="10800000">
          <a:off x="2264421" y="1818412"/>
          <a:ext cx="7591060" cy="976556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0634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>
              <a:latin typeface="+mj-lt"/>
              <a:ea typeface="+mj-lt"/>
              <a:cs typeface="+mj-lt"/>
            </a:rPr>
            <a:t>Protocol</a:t>
          </a:r>
          <a:r>
            <a:rPr lang="en-US" sz="1600" b="1" kern="1200">
              <a:latin typeface="+mj-lt"/>
            </a:rPr>
            <a:t> Training and Site Feasibility Kick off Meeting </a:t>
          </a:r>
          <a:r>
            <a:rPr lang="en-US" sz="1600" b="1" kern="1200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week of 18May2026</a:t>
          </a:r>
          <a:endParaRPr lang="en-US" sz="1600" kern="1200">
            <a:latin typeface="+mj-lt"/>
            <a:ea typeface="+mj-lt"/>
            <a:cs typeface="+mj-lt"/>
          </a:endParaRPr>
        </a:p>
      </dsp:txBody>
      <dsp:txXfrm rot="10800000">
        <a:off x="2508560" y="1818412"/>
        <a:ext cx="7346921" cy="976556"/>
      </dsp:txXfrm>
    </dsp:sp>
    <dsp:sp modelId="{501A1277-DA7F-486E-9F40-6B1974A34E57}">
      <dsp:nvSpPr>
        <dsp:cNvPr id="0" name=""/>
        <dsp:cNvSpPr/>
      </dsp:nvSpPr>
      <dsp:spPr>
        <a:xfrm>
          <a:off x="1198659" y="1794477"/>
          <a:ext cx="976556" cy="976556"/>
        </a:xfrm>
        <a:prstGeom prst="ellipse">
          <a:avLst/>
        </a:prstGeom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DE45FF-698B-4C41-B428-F828A21AE10D}">
      <dsp:nvSpPr>
        <dsp:cNvPr id="0" name=""/>
        <dsp:cNvSpPr/>
      </dsp:nvSpPr>
      <dsp:spPr>
        <a:xfrm rot="10800000">
          <a:off x="2296076" y="3120345"/>
          <a:ext cx="7591060" cy="555894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0634" tIns="60960" rIns="113792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600" b="1" kern="1200">
              <a:latin typeface="+mj-lt"/>
            </a:rPr>
            <a:t>Site Outreach </a:t>
          </a:r>
          <a:r>
            <a:rPr lang="en-US" sz="1600" kern="1200">
              <a:latin typeface="+mj-lt"/>
            </a:rPr>
            <a:t>to launch in June and to conclude end of </a:t>
          </a:r>
          <a:r>
            <a:rPr lang="en-US" sz="1600" b="1" kern="1200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July 2026</a:t>
          </a:r>
          <a:endParaRPr lang="en-US" sz="1600" kern="1200">
            <a:solidFill>
              <a:schemeClr val="accent4">
                <a:lumMod val="60000"/>
                <a:lumOff val="40000"/>
              </a:schemeClr>
            </a:solidFill>
            <a:latin typeface="+mj-lt"/>
          </a:endParaRPr>
        </a:p>
      </dsp:txBody>
      <dsp:txXfrm rot="10800000">
        <a:off x="2435049" y="3120345"/>
        <a:ext cx="7452087" cy="555894"/>
      </dsp:txXfrm>
    </dsp:sp>
    <dsp:sp modelId="{1BA99793-3D36-473D-8CFD-7C5C5A4F393D}">
      <dsp:nvSpPr>
        <dsp:cNvPr id="0" name=""/>
        <dsp:cNvSpPr/>
      </dsp:nvSpPr>
      <dsp:spPr>
        <a:xfrm>
          <a:off x="1217731" y="2898618"/>
          <a:ext cx="976556" cy="976556"/>
        </a:xfrm>
        <a:prstGeom prst="ellipse">
          <a:avLst/>
        </a:prstGeom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F9E32A-6026-436D-A75F-553A446E5EDA}">
      <dsp:nvSpPr>
        <dsp:cNvPr id="0" name=""/>
        <dsp:cNvSpPr/>
      </dsp:nvSpPr>
      <dsp:spPr>
        <a:xfrm rot="10800000">
          <a:off x="2284082" y="4211219"/>
          <a:ext cx="7591060" cy="572389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0634" tIns="60960" rIns="113792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600" b="1" kern="1200">
              <a:latin typeface="+mj-lt"/>
            </a:rPr>
            <a:t>Baseline Lock </a:t>
          </a:r>
          <a:r>
            <a:rPr lang="en-US" sz="1600" b="1" kern="1200">
              <a:solidFill>
                <a:schemeClr val="accent4">
                  <a:lumMod val="60000"/>
                  <a:lumOff val="40000"/>
                </a:schemeClr>
              </a:solidFill>
              <a:latin typeface="+mj-lt"/>
            </a:rPr>
            <a:t>December 2026</a:t>
          </a:r>
          <a:endParaRPr lang="en-US" sz="1600" b="1" kern="1200">
            <a:solidFill>
              <a:schemeClr val="accent4">
                <a:lumMod val="60000"/>
                <a:lumOff val="40000"/>
              </a:schemeClr>
            </a:solidFill>
            <a:highlight>
              <a:srgbClr val="FFFF00"/>
            </a:highlight>
          </a:endParaRPr>
        </a:p>
      </dsp:txBody>
      <dsp:txXfrm rot="10800000">
        <a:off x="2427179" y="4211219"/>
        <a:ext cx="7447963" cy="572389"/>
      </dsp:txXfrm>
    </dsp:sp>
    <dsp:sp modelId="{41BE8183-2F5C-40A6-98EE-1AE0B9B35B66}">
      <dsp:nvSpPr>
        <dsp:cNvPr id="0" name=""/>
        <dsp:cNvSpPr/>
      </dsp:nvSpPr>
      <dsp:spPr>
        <a:xfrm>
          <a:off x="1221559" y="4007515"/>
          <a:ext cx="976556" cy="976556"/>
        </a:xfrm>
        <a:prstGeom prst="ellipse">
          <a:avLst/>
        </a:prstGeom>
        <a:blipFill>
          <a:blip xmlns:r="http://schemas.openxmlformats.org/officeDocument/2006/relationships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11B98E-4B9E-4810-B4A9-26A2E04A205C}" type="datetimeFigureOut">
              <a:rPr lang="en-US" smtClean="0"/>
              <a:t>5/1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86C4B7-594D-4B55-A8CA-CD0B8A6CB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47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B18E93-EE38-CB4F-AFC1-65CB91DBA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330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50" err="1"/>
              <a:t>Ventyx</a:t>
            </a:r>
            <a:r>
              <a:rPr lang="en-US" sz="1050"/>
              <a:t> discontinued in </a:t>
            </a:r>
            <a:r>
              <a:rPr lang="en-US" sz="1050" err="1"/>
              <a:t>PsO</a:t>
            </a:r>
            <a:r>
              <a:rPr lang="en-US" sz="1050"/>
              <a:t> and PsA d/t efficacy results from P2 study in </a:t>
            </a:r>
            <a:r>
              <a:rPr lang="en-US" sz="1050" err="1"/>
              <a:t>PsO</a:t>
            </a:r>
            <a:r>
              <a:rPr lang="en-US" sz="1050"/>
              <a:t> (11/6/2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85DDC1-BA8C-4032-974D-CAC5C93E08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2104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400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3374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862974-6846-5930-C77D-C154B6620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Content slide-bullets</a:t>
            </a:r>
          </a:p>
        </p:txBody>
      </p:sp>
    </p:spTree>
    <p:extLst>
      <p:ext uri="{BB962C8B-B14F-4D97-AF65-F5344CB8AC3E}">
        <p14:creationId xmlns:p14="http://schemas.microsoft.com/office/powerpoint/2010/main" val="41597075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741" y="1936934"/>
            <a:ext cx="10327341" cy="2251249"/>
          </a:xfrm>
        </p:spPr>
        <p:txBody>
          <a:bodyPr anchor="ctr"/>
          <a:lstStyle>
            <a:lvl1pPr algn="ctr">
              <a:lnSpc>
                <a:spcPct val="80000"/>
              </a:lnSpc>
              <a:defRPr sz="7400" b="0" i="1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quote </a:t>
            </a:r>
            <a:br>
              <a:rPr lang="en-US"/>
            </a:br>
            <a:r>
              <a:rPr lang="en-US"/>
              <a:t>or statement tex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AF6FE718-6D5F-8DC1-A5A7-D143A261CF0C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E88B32-FEE7-7A6F-A9D1-4BF29A9BFF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7085" y="4623892"/>
            <a:ext cx="6328833" cy="1042923"/>
          </a:xfrm>
        </p:spPr>
        <p:txBody>
          <a:bodyPr/>
          <a:lstStyle>
            <a:lvl1pPr marL="0" indent="0" algn="r">
              <a:lnSpc>
                <a:spcPts val="6666"/>
              </a:lnSpc>
              <a:spcBef>
                <a:spcPts val="0"/>
              </a:spcBef>
              <a:buNone/>
              <a:defRPr sz="2000" b="0" i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C3E548-9794-EE47-AF0E-66BFFC83D04C}"/>
              </a:ext>
            </a:extLst>
          </p:cNvPr>
          <p:cNvSpPr txBox="1"/>
          <p:nvPr userDrawn="1"/>
        </p:nvSpPr>
        <p:spPr>
          <a:xfrm>
            <a:off x="397136" y="726889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bg1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C49D2F-42CD-3A0F-B851-83C61ADB494F}"/>
              </a:ext>
            </a:extLst>
          </p:cNvPr>
          <p:cNvSpPr txBox="1"/>
          <p:nvPr userDrawn="1"/>
        </p:nvSpPr>
        <p:spPr>
          <a:xfrm rot="10800000">
            <a:off x="11336020" y="229276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bg1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17381160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741" y="1977275"/>
            <a:ext cx="10327341" cy="2251249"/>
          </a:xfrm>
        </p:spPr>
        <p:txBody>
          <a:bodyPr anchor="ctr"/>
          <a:lstStyle>
            <a:lvl1pPr algn="ctr">
              <a:lnSpc>
                <a:spcPct val="80000"/>
              </a:lnSpc>
              <a:defRPr sz="7400" b="0" i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quote </a:t>
            </a:r>
            <a:br>
              <a:rPr lang="en-US"/>
            </a:br>
            <a:r>
              <a:rPr lang="en-US"/>
              <a:t>or statement tex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E88B32-FEE7-7A6F-A9D1-4BF29A9BFF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7085" y="4596998"/>
            <a:ext cx="6328833" cy="1042923"/>
          </a:xfrm>
        </p:spPr>
        <p:txBody>
          <a:bodyPr/>
          <a:lstStyle>
            <a:lvl1pPr marL="0" indent="0" algn="r">
              <a:lnSpc>
                <a:spcPts val="6666"/>
              </a:lnSpc>
              <a:spcBef>
                <a:spcPts val="0"/>
              </a:spcBef>
              <a:buNone/>
              <a:defRPr sz="2000" b="0" i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062DDA-5DFC-D880-93C9-64FFA1CB6609}"/>
              </a:ext>
            </a:extLst>
          </p:cNvPr>
          <p:cNvSpPr txBox="1"/>
          <p:nvPr userDrawn="1"/>
        </p:nvSpPr>
        <p:spPr>
          <a:xfrm>
            <a:off x="464372" y="68654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tx2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632528-5D04-D0FF-15D0-DD477EFA9729}"/>
              </a:ext>
            </a:extLst>
          </p:cNvPr>
          <p:cNvSpPr txBox="1"/>
          <p:nvPr userDrawn="1"/>
        </p:nvSpPr>
        <p:spPr>
          <a:xfrm rot="10800000">
            <a:off x="11336020" y="229276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tx2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4405613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/Sta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Picture Placeholder 91">
            <a:extLst>
              <a:ext uri="{FF2B5EF4-FFF2-40B4-BE49-F238E27FC236}">
                <a16:creationId xmlns:a16="http://schemas.microsoft.com/office/drawing/2014/main" id="{F736DB84-A7A8-BDC2-32D9-1B1F35A620BF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 rot="5400000">
            <a:off x="5847859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55B8A41-1944-260E-E844-423A80D0B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Number/stat slide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23A06F5-5901-63A4-F8EB-57E4EA47E444}"/>
              </a:ext>
            </a:extLst>
          </p:cNvPr>
          <p:cNvSpPr>
            <a:spLocks noGrp="1"/>
          </p:cNvSpPr>
          <p:nvPr>
            <p:ph type="subTitle" idx="8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972141E1-4FD3-8B76-855F-B2E138CE8398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 rot="5400000">
            <a:off x="1795442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5C8B14EB-59C9-CEC0-D3AD-62A88AF1E92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1682750"/>
            <a:ext cx="3498599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AA7B08BC-8B4C-E1A6-6629-68081FF97F8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443664" y="1682750"/>
            <a:ext cx="3481135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3DC81895-DD95-0DB0-50F0-E306BE1D5D7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415337" y="1682750"/>
            <a:ext cx="34845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AC006A5-0687-2ECD-7030-35FB72C875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69AEE77-A08F-B980-2CBF-F36CC819D7F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419600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EB3EB1B9-138F-1ACE-0BF4-C30279ABC0FC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382000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379518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1F029B65-7086-5296-EBB1-F01430B5DF9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90650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tx2"/>
          </a:solidFill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76400"/>
            <a:ext cx="5662777" cy="4602720"/>
          </a:xfrm>
          <a:solidFill>
            <a:schemeClr val="bg2"/>
          </a:solidFill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677213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4">
    <p:bg>
      <p:bgPr>
        <a:solidFill>
          <a:srgbClr val="F4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781448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E5FEC623-0EF3-80C4-DA22-823F15C50DB3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35306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  <a:solidFill>
            <a:schemeClr val="bg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  <a:solidFill>
            <a:schemeClr val="accent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210745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4">
    <p:bg>
      <p:bgPr>
        <a:solidFill>
          <a:srgbClr val="F4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395526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05190C-873A-43EC-8FE1-FEE2DF738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Four column slid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66B02CC-529F-7493-B7A5-3C03F9B3473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094FA37-98B3-79E0-EA3D-E4B7B83E2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82750"/>
            <a:ext cx="2807282" cy="4602720"/>
          </a:xfrm>
          <a:solidFill>
            <a:srgbClr val="F1EFED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BB3F9CF-E814-5CB8-F5D0-7387687A47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82750"/>
            <a:ext cx="2776872" cy="4602720"/>
          </a:xfrm>
          <a:solidFill>
            <a:srgbClr val="F1EFED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352BA4A-46A6-B052-0A8E-FB1C188C77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82750"/>
            <a:ext cx="2801687" cy="4602720"/>
          </a:xfrm>
          <a:solidFill>
            <a:srgbClr val="F1EFED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82C91FB-402B-39C2-8B90-77DE04907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99884" y="1682750"/>
            <a:ext cx="2801687" cy="4602720"/>
          </a:xfrm>
          <a:solidFill>
            <a:srgbClr val="F1EFED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24127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C9600DF-8676-1DF4-75D4-CA27877845BD}"/>
              </a:ext>
            </a:extLst>
          </p:cNvPr>
          <p:cNvSpPr/>
          <p:nvPr userDrawn="1"/>
        </p:nvSpPr>
        <p:spPr>
          <a:xfrm>
            <a:off x="1" y="5803391"/>
            <a:ext cx="4023360" cy="10546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B9AF48-637F-9028-E031-30CD6D637C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4022" y="1257790"/>
            <a:ext cx="7460026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83404EB1-A6EC-3C24-405E-14B104E5B2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4022" y="3343528"/>
            <a:ext cx="7460026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C965A2F6-6D36-1AFF-C6E6-1EAFAA670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3713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CEA27129-2FF2-098C-00F6-02AB594C79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3713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20E8A848-985B-F8C7-7E08-0E8E8A74BC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713" y="6328483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B5DE80C-7DFC-65B1-8573-FA02513D618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-2"/>
            <a:ext cx="4023359" cy="5803393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6865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05190C-873A-43EC-8FE1-FEE2DF738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Four column slid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66B02CC-529F-7493-B7A5-3C03F9B3473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094FA37-98B3-79E0-EA3D-E4B7B83E2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82750"/>
            <a:ext cx="2807282" cy="4602720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BB3F9CF-E814-5CB8-F5D0-7387687A47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82750"/>
            <a:ext cx="2776872" cy="4602720"/>
          </a:xfrm>
          <a:solidFill>
            <a:schemeClr val="bg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352BA4A-46A6-B052-0A8E-FB1C188C77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82750"/>
            <a:ext cx="2801687" cy="4602720"/>
          </a:xfrm>
          <a:solidFill>
            <a:schemeClr val="tx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82C91FB-402B-39C2-8B90-77DE04907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99884" y="1682750"/>
            <a:ext cx="2801687" cy="4602720"/>
          </a:xfrm>
          <a:solidFill>
            <a:schemeClr val="accent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6720135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4">
    <p:bg>
      <p:bgPr>
        <a:solidFill>
          <a:srgbClr val="F1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05190C-873A-43EC-8FE1-FEE2DF738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Four column slid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66B02CC-529F-7493-B7A5-3C03F9B3473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094FA37-98B3-79E0-EA3D-E4B7B83E2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82750"/>
            <a:ext cx="2807282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BB3F9CF-E814-5CB8-F5D0-7387687A47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82750"/>
            <a:ext cx="2776872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352BA4A-46A6-B052-0A8E-FB1C188C77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82750"/>
            <a:ext cx="280168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82C91FB-402B-39C2-8B90-77DE04907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99884" y="1682750"/>
            <a:ext cx="280168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1150588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Six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5917F16-654F-6173-8C94-22F5441159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844" y="168274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DD984C0-D30B-BBA3-D82C-33FDF3F766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7042" y="168274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C662A81-CCD1-90DE-191D-40DC483AB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4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BDF3BA-E989-4995-BB8C-A0FC79320F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8844" y="396239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3C4BDC43-8EC9-9F26-041E-4D9F024D83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7042" y="396239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D750FD4-D3D6-2F8E-44EE-C38FCF5A31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3400" y="3962399"/>
            <a:ext cx="3785851" cy="2169459"/>
          </a:xfrm>
          <a:solidFill>
            <a:schemeClr val="bg1"/>
          </a:solidFill>
          <a:effectLst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543493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Six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5917F16-654F-6173-8C94-22F5441159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844" y="168274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DD984C0-D30B-BBA3-D82C-33FDF3F766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7042" y="1682749"/>
            <a:ext cx="3785851" cy="2169459"/>
          </a:xfrm>
          <a:solidFill>
            <a:schemeClr val="bg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C662A81-CCD1-90DE-191D-40DC483AB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49"/>
            <a:ext cx="3785851" cy="2169459"/>
          </a:xfrm>
          <a:solidFill>
            <a:schemeClr val="tx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BDF3BA-E989-4995-BB8C-A0FC79320F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8844" y="3962399"/>
            <a:ext cx="3785851" cy="2169459"/>
          </a:xfrm>
          <a:solidFill>
            <a:schemeClr val="bg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3C4BDC43-8EC9-9F26-041E-4D9F024D83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7042" y="3962399"/>
            <a:ext cx="3785851" cy="2169459"/>
          </a:xfrm>
          <a:solidFill>
            <a:schemeClr val="tx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D750FD4-D3D6-2F8E-44EE-C38FCF5A31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3400" y="396239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13276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Six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5917F16-654F-6173-8C94-22F5441159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844" y="168274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DD984C0-D30B-BBA3-D82C-33FDF3F766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7042" y="168274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C662A81-CCD1-90DE-191D-40DC483AB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4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BDF3BA-E989-4995-BB8C-A0FC79320F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8844" y="396239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3C4BDC43-8EC9-9F26-041E-4D9F024D83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7042" y="396239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D750FD4-D3D6-2F8E-44EE-C38FCF5A31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3400" y="3962399"/>
            <a:ext cx="3785851" cy="2169459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69392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5">
    <p:bg>
      <p:bgPr>
        <a:solidFill>
          <a:srgbClr val="F1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Six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5917F16-654F-6173-8C94-22F5441159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844" y="168274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DD984C0-D30B-BBA3-D82C-33FDF3F766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7042" y="168274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C662A81-CCD1-90DE-191D-40DC483AB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4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BDF3BA-E989-4995-BB8C-A0FC79320F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8844" y="396239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3C4BDC43-8EC9-9F26-041E-4D9F024D83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7042" y="396239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D750FD4-D3D6-2F8E-44EE-C38FCF5A31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3400" y="3962399"/>
            <a:ext cx="3785851" cy="2169459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172408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78752"/>
            <a:ext cx="9649446" cy="468590"/>
          </a:xfrm>
        </p:spPr>
        <p:txBody>
          <a:bodyPr anchor="b"/>
          <a:lstStyle/>
          <a:p>
            <a:r>
              <a:rPr lang="en-US"/>
              <a:t>Eight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3010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D860F09-36B8-43BE-976F-E8BDF075BD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92909"/>
            <a:ext cx="2807282" cy="2167355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2CB537C9-D024-AB9F-3D89-F005D3BF30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92909"/>
            <a:ext cx="2776872" cy="2167355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AAB7052-9E3C-17BF-451B-8895D7A53D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92909"/>
            <a:ext cx="2801687" cy="2167355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5E66286-6B16-B517-E6AE-DA7B00CD7E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800" y="1692909"/>
            <a:ext cx="2801687" cy="2167355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19EB6F-D4CC-6046-A126-C5C2E814CA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4887" y="3972560"/>
            <a:ext cx="2807282" cy="2181726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85279F-7037-4C96-4230-2472D8D7C3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44517" y="3972560"/>
            <a:ext cx="2776872" cy="2181726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B3E6FD4-ACC0-B35B-AACF-546EFDC534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5850" y="3972560"/>
            <a:ext cx="2801687" cy="2181726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AE79968-EECE-9476-7DAE-57EA2DA9D3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67800" y="3972560"/>
            <a:ext cx="2801687" cy="2181726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915399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ight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D860F09-36B8-43BE-976F-E8BDF075BD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82749"/>
            <a:ext cx="2807282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2CB537C9-D024-AB9F-3D89-F005D3BF30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82749"/>
            <a:ext cx="2776872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AAB7052-9E3C-17BF-451B-8895D7A53D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82749"/>
            <a:ext cx="2801687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5E66286-6B16-B517-E6AE-DA7B00CD7E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800" y="1682749"/>
            <a:ext cx="2801687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19EB6F-D4CC-6046-A126-C5C2E814CA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4887" y="3962400"/>
            <a:ext cx="2807282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85279F-7037-4C96-4230-2472D8D7C3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44517" y="3962400"/>
            <a:ext cx="2776872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B3E6FD4-ACC0-B35B-AACF-546EFDC534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5850" y="3962400"/>
            <a:ext cx="2801687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AE79968-EECE-9476-7DAE-57EA2DA9D3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67800" y="3962400"/>
            <a:ext cx="2801687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02B87C4B-B7E9-C4D2-7B38-A4E4EE6BAE26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87610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 4">
    <p:bg>
      <p:bgPr>
        <a:solidFill>
          <a:srgbClr val="F1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5D6C45D-0749-502D-E6DC-AFEDB3FD2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Eight bucket slid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A66A474-6D8E-5044-2917-1AB66F88A43B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D860F09-36B8-43BE-976F-E8BDF075BD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87" y="1682749"/>
            <a:ext cx="2807282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2CB537C9-D024-AB9F-3D89-F005D3BF30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4517" y="1682749"/>
            <a:ext cx="2776872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AAB7052-9E3C-17BF-451B-8895D7A53D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5850" y="1682749"/>
            <a:ext cx="2801687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5E66286-6B16-B517-E6AE-DA7B00CD7E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800" y="1682749"/>
            <a:ext cx="2801687" cy="2167355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19EB6F-D4CC-6046-A126-C5C2E814CA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4887" y="3962400"/>
            <a:ext cx="2807282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85279F-7037-4C96-4230-2472D8D7C3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44517" y="3962400"/>
            <a:ext cx="2776872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B3E6FD4-ACC0-B35B-AACF-546EFDC534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5850" y="3962400"/>
            <a:ext cx="2801687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AE79968-EECE-9476-7DAE-57EA2DA9D3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67800" y="3962400"/>
            <a:ext cx="2801687" cy="2181726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870055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 + Icon/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E4F1D5-C00D-1CE3-54D2-C918136C3D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A276427A-9B4D-0ED1-8851-E5E84CFA40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0522" y="1699204"/>
            <a:ext cx="3724834" cy="1413711"/>
          </a:xfrm>
          <a:solidFill>
            <a:schemeClr val="tx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53">
            <a:extLst>
              <a:ext uri="{FF2B5EF4-FFF2-40B4-BE49-F238E27FC236}">
                <a16:creationId xmlns:a16="http://schemas.microsoft.com/office/drawing/2014/main" id="{8FBAA8AB-3A0D-2722-1BFD-5779F5D3C8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0522" y="3246599"/>
            <a:ext cx="3724834" cy="1413711"/>
          </a:xfrm>
          <a:solidFill>
            <a:schemeClr val="bg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53">
            <a:extLst>
              <a:ext uri="{FF2B5EF4-FFF2-40B4-BE49-F238E27FC236}">
                <a16:creationId xmlns:a16="http://schemas.microsoft.com/office/drawing/2014/main" id="{EA446364-FA39-5B77-E9B3-5F5BC52BDA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522" y="4797336"/>
            <a:ext cx="3724834" cy="1413711"/>
          </a:xfrm>
          <a:solidFill>
            <a:schemeClr val="accent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Picture Placeholder 39">
            <a:extLst>
              <a:ext uri="{FF2B5EF4-FFF2-40B4-BE49-F238E27FC236}">
                <a16:creationId xmlns:a16="http://schemas.microsoft.com/office/drawing/2014/main" id="{67EBECF7-20E2-CAC4-2907-87AA293F60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85450" y="1943177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3" name="Picture Placeholder 39">
            <a:extLst>
              <a:ext uri="{FF2B5EF4-FFF2-40B4-BE49-F238E27FC236}">
                <a16:creationId xmlns:a16="http://schemas.microsoft.com/office/drawing/2014/main" id="{90BEE0A3-168C-C64E-3ACE-DB2208F7288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5450" y="34805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4" name="Picture Placeholder 39">
            <a:extLst>
              <a:ext uri="{FF2B5EF4-FFF2-40B4-BE49-F238E27FC236}">
                <a16:creationId xmlns:a16="http://schemas.microsoft.com/office/drawing/2014/main" id="{B1163645-04FD-7127-4045-6067AEC061C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5450" y="50680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FCB59216-E525-D383-F861-F99F8D69CAA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206875" y="6415710"/>
            <a:ext cx="4754563" cy="1534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590E363-37BC-CAF5-8F9D-3624E57EA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Nine bucket slide with image or icon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5735860-9882-8497-5732-1C1B3401FBBC}"/>
              </a:ext>
            </a:extLst>
          </p:cNvPr>
          <p:cNvSpPr>
            <a:spLocks noGrp="1"/>
          </p:cNvSpPr>
          <p:nvPr>
            <p:ph type="subTitle" idx="3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26" name="Text Placeholder 53">
            <a:extLst>
              <a:ext uri="{FF2B5EF4-FFF2-40B4-BE49-F238E27FC236}">
                <a16:creationId xmlns:a16="http://schemas.microsoft.com/office/drawing/2014/main" id="{E2C31361-4E2F-6A72-9DB2-9268CA4EA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73073" y="1699204"/>
            <a:ext cx="3724834" cy="1413711"/>
          </a:xfrm>
          <a:solidFill>
            <a:schemeClr val="tx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53">
            <a:extLst>
              <a:ext uri="{FF2B5EF4-FFF2-40B4-BE49-F238E27FC236}">
                <a16:creationId xmlns:a16="http://schemas.microsoft.com/office/drawing/2014/main" id="{BA9986BB-1776-4EE8-D80B-337879A94DA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73073" y="3246599"/>
            <a:ext cx="3724834" cy="1413711"/>
          </a:xfrm>
          <a:solidFill>
            <a:schemeClr val="tx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53">
            <a:extLst>
              <a:ext uri="{FF2B5EF4-FFF2-40B4-BE49-F238E27FC236}">
                <a16:creationId xmlns:a16="http://schemas.microsoft.com/office/drawing/2014/main" id="{179B4F6D-BE09-462F-F648-D8995287FA9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73073" y="4797336"/>
            <a:ext cx="3724834" cy="1413711"/>
          </a:xfrm>
          <a:solidFill>
            <a:schemeClr val="bg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9">
            <a:extLst>
              <a:ext uri="{FF2B5EF4-FFF2-40B4-BE49-F238E27FC236}">
                <a16:creationId xmlns:a16="http://schemas.microsoft.com/office/drawing/2014/main" id="{2489D15B-CAED-670E-FBA7-0B098D31C78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278001" y="1943177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0" name="Picture Placeholder 39">
            <a:extLst>
              <a:ext uri="{FF2B5EF4-FFF2-40B4-BE49-F238E27FC236}">
                <a16:creationId xmlns:a16="http://schemas.microsoft.com/office/drawing/2014/main" id="{6BAB12F5-35BA-B82B-5224-80605A96D9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78001" y="34805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1" name="Picture Placeholder 39">
            <a:extLst>
              <a:ext uri="{FF2B5EF4-FFF2-40B4-BE49-F238E27FC236}">
                <a16:creationId xmlns:a16="http://schemas.microsoft.com/office/drawing/2014/main" id="{E716ED0A-0D89-DF6B-AC77-113B512062E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278001" y="50680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2" name="Text Placeholder 53">
            <a:extLst>
              <a:ext uri="{FF2B5EF4-FFF2-40B4-BE49-F238E27FC236}">
                <a16:creationId xmlns:a16="http://schemas.microsoft.com/office/drawing/2014/main" id="{84E0953C-61C0-C47F-AFC4-235716087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54791" y="1699204"/>
            <a:ext cx="3724834" cy="1413711"/>
          </a:xfrm>
          <a:solidFill>
            <a:schemeClr val="accent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3">
            <a:extLst>
              <a:ext uri="{FF2B5EF4-FFF2-40B4-BE49-F238E27FC236}">
                <a16:creationId xmlns:a16="http://schemas.microsoft.com/office/drawing/2014/main" id="{A1796383-C0FB-773F-1B0C-DED495CF939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4791" y="3246599"/>
            <a:ext cx="3724834" cy="1413711"/>
          </a:xfrm>
          <a:solidFill>
            <a:schemeClr val="tx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3">
            <a:extLst>
              <a:ext uri="{FF2B5EF4-FFF2-40B4-BE49-F238E27FC236}">
                <a16:creationId xmlns:a16="http://schemas.microsoft.com/office/drawing/2014/main" id="{4BEF2196-4E3E-2767-50B7-94DD682923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54791" y="4797336"/>
            <a:ext cx="3724834" cy="1413711"/>
          </a:xfrm>
          <a:solidFill>
            <a:schemeClr val="tx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9">
            <a:extLst>
              <a:ext uri="{FF2B5EF4-FFF2-40B4-BE49-F238E27FC236}">
                <a16:creationId xmlns:a16="http://schemas.microsoft.com/office/drawing/2014/main" id="{38746AC5-B9CF-E801-BA79-A75CF7B4C5C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159719" y="1943177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6" name="Picture Placeholder 39">
            <a:extLst>
              <a:ext uri="{FF2B5EF4-FFF2-40B4-BE49-F238E27FC236}">
                <a16:creationId xmlns:a16="http://schemas.microsoft.com/office/drawing/2014/main" id="{1E51C827-5701-E92E-B3C4-350465B6DB2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59719" y="34805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7" name="Picture Placeholder 39">
            <a:extLst>
              <a:ext uri="{FF2B5EF4-FFF2-40B4-BE49-F238E27FC236}">
                <a16:creationId xmlns:a16="http://schemas.microsoft.com/office/drawing/2014/main" id="{0578DEDD-C958-6071-6924-5576AAE8EF5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8159719" y="5068046"/>
            <a:ext cx="923396" cy="922073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778013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A9B2183-ECFD-70D0-F5B2-55ADA29F19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22"/>
            <a:ext cx="12195722" cy="6855478"/>
          </a:xfrm>
          <a:prstGeom prst="rect">
            <a:avLst/>
          </a:prstGeom>
        </p:spPr>
      </p:pic>
      <p:sp>
        <p:nvSpPr>
          <p:cNvPr id="14" name="Text Placeholder 31">
            <a:extLst>
              <a:ext uri="{FF2B5EF4-FFF2-40B4-BE49-F238E27FC236}">
                <a16:creationId xmlns:a16="http://schemas.microsoft.com/office/drawing/2014/main" id="{026245ED-D708-1193-E35B-49E971B7B6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389433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ACA29A6-9F72-5660-A439-1C838BF330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2820478"/>
            <a:ext cx="6366934" cy="1230314"/>
          </a:xfrm>
        </p:spPr>
        <p:txBody>
          <a:bodyPr wrap="none" anchor="b">
            <a:noAutofit/>
          </a:bodyPr>
          <a:lstStyle>
            <a:lvl1pPr algn="l">
              <a:lnSpc>
                <a:spcPct val="75000"/>
              </a:lnSpc>
              <a:defRPr sz="8000" b="1" i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9937D633-175A-02FB-71AE-7B8CE3934A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32875" y="5815513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D860D5C5-A502-6877-357D-5679CDAA50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2875" y="5400934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32249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 + Icon/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E4F1D5-C00D-1CE3-54D2-C918136C3D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A276427A-9B4D-0ED1-8851-E5E84CFA40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0522" y="1699204"/>
            <a:ext cx="3724834" cy="2145671"/>
          </a:xfrm>
          <a:solidFill>
            <a:schemeClr val="tx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53">
            <a:extLst>
              <a:ext uri="{FF2B5EF4-FFF2-40B4-BE49-F238E27FC236}">
                <a16:creationId xmlns:a16="http://schemas.microsoft.com/office/drawing/2014/main" id="{8FBAA8AB-3A0D-2722-1BFD-5779F5D3C8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0522" y="3945846"/>
            <a:ext cx="3724834" cy="2145671"/>
          </a:xfrm>
          <a:solidFill>
            <a:schemeClr val="bg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Picture Placeholder 39">
            <a:extLst>
              <a:ext uri="{FF2B5EF4-FFF2-40B4-BE49-F238E27FC236}">
                <a16:creationId xmlns:a16="http://schemas.microsoft.com/office/drawing/2014/main" id="{67EBECF7-20E2-CAC4-2907-87AA293F60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85450" y="2078900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3" name="Picture Placeholder 39">
            <a:extLst>
              <a:ext uri="{FF2B5EF4-FFF2-40B4-BE49-F238E27FC236}">
                <a16:creationId xmlns:a16="http://schemas.microsoft.com/office/drawing/2014/main" id="{90BEE0A3-168C-C64E-3ACE-DB2208F7288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5450" y="4315516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FCB59216-E525-D383-F861-F99F8D69CAA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206875" y="6415710"/>
            <a:ext cx="4754563" cy="1534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590E363-37BC-CAF5-8F9D-3624E57EA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Six bucket slide with image or icon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5735860-9882-8497-5732-1C1B3401FBBC}"/>
              </a:ext>
            </a:extLst>
          </p:cNvPr>
          <p:cNvSpPr>
            <a:spLocks noGrp="1"/>
          </p:cNvSpPr>
          <p:nvPr>
            <p:ph type="subTitle" idx="3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26" name="Text Placeholder 53">
            <a:extLst>
              <a:ext uri="{FF2B5EF4-FFF2-40B4-BE49-F238E27FC236}">
                <a16:creationId xmlns:a16="http://schemas.microsoft.com/office/drawing/2014/main" id="{E2C31361-4E2F-6A72-9DB2-9268CA4EA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73073" y="1699204"/>
            <a:ext cx="3724834" cy="2145671"/>
          </a:xfrm>
          <a:solidFill>
            <a:schemeClr val="tx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53">
            <a:extLst>
              <a:ext uri="{FF2B5EF4-FFF2-40B4-BE49-F238E27FC236}">
                <a16:creationId xmlns:a16="http://schemas.microsoft.com/office/drawing/2014/main" id="{BA9986BB-1776-4EE8-D80B-337879A94DA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73073" y="3945846"/>
            <a:ext cx="3724834" cy="2145671"/>
          </a:xfrm>
          <a:solidFill>
            <a:schemeClr val="tx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9">
            <a:extLst>
              <a:ext uri="{FF2B5EF4-FFF2-40B4-BE49-F238E27FC236}">
                <a16:creationId xmlns:a16="http://schemas.microsoft.com/office/drawing/2014/main" id="{2489D15B-CAED-670E-FBA7-0B098D31C78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278001" y="2078900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0" name="Picture Placeholder 39">
            <a:extLst>
              <a:ext uri="{FF2B5EF4-FFF2-40B4-BE49-F238E27FC236}">
                <a16:creationId xmlns:a16="http://schemas.microsoft.com/office/drawing/2014/main" id="{6BAB12F5-35BA-B82B-5224-80605A96D9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78001" y="4315516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2" name="Text Placeholder 53">
            <a:extLst>
              <a:ext uri="{FF2B5EF4-FFF2-40B4-BE49-F238E27FC236}">
                <a16:creationId xmlns:a16="http://schemas.microsoft.com/office/drawing/2014/main" id="{84E0953C-61C0-C47F-AFC4-235716087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54791" y="1699204"/>
            <a:ext cx="3724834" cy="2145671"/>
          </a:xfrm>
          <a:solidFill>
            <a:schemeClr val="bg2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3">
            <a:extLst>
              <a:ext uri="{FF2B5EF4-FFF2-40B4-BE49-F238E27FC236}">
                <a16:creationId xmlns:a16="http://schemas.microsoft.com/office/drawing/2014/main" id="{A1796383-C0FB-773F-1B0C-DED495CF939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54791" y="3945846"/>
            <a:ext cx="3724834" cy="2145671"/>
          </a:xfrm>
          <a:solidFill>
            <a:schemeClr val="tx1"/>
          </a:solidFill>
          <a:effectLst/>
        </p:spPr>
        <p:txBody>
          <a:bodyPr lIns="1188720" tIns="91440" rIns="91440" bIns="91440" anchor="ctr"/>
          <a:lstStyle>
            <a:lvl1pPr marL="0" indent="0">
              <a:buClr>
                <a:schemeClr val="bg1"/>
              </a:buClr>
              <a:buNone/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9">
            <a:extLst>
              <a:ext uri="{FF2B5EF4-FFF2-40B4-BE49-F238E27FC236}">
                <a16:creationId xmlns:a16="http://schemas.microsoft.com/office/drawing/2014/main" id="{38746AC5-B9CF-E801-BA79-A75CF7B4C5C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159719" y="2078900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6" name="Picture Placeholder 39">
            <a:extLst>
              <a:ext uri="{FF2B5EF4-FFF2-40B4-BE49-F238E27FC236}">
                <a16:creationId xmlns:a16="http://schemas.microsoft.com/office/drawing/2014/main" id="{1E51C827-5701-E92E-B3C4-350465B6DB2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59719" y="4315516"/>
            <a:ext cx="923396" cy="1399484"/>
          </a:xfrm>
        </p:spPr>
        <p:txBody>
          <a:bodyPr anchor="ctr"/>
          <a:lstStyle>
            <a:lvl1pPr marL="0" indent="0" algn="ctr">
              <a:buNone/>
              <a:defRPr sz="1667">
                <a:solidFill>
                  <a:schemeClr val="bg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2476811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92E128-7C2F-966E-52CE-65AA6738AE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6DEF6-3788-B26C-6ACA-05699E41CE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2C41E4-29FB-C015-719F-3BF3E66077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1682750"/>
            <a:ext cx="11612562" cy="4594225"/>
          </a:xfrm>
          <a:solidFill>
            <a:schemeClr val="accent1">
              <a:lumMod val="40000"/>
              <a:lumOff val="60000"/>
            </a:schemeClr>
          </a:solidFill>
          <a:effectLst/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116D17E-0BC9-B278-7F9D-F0BC9C8CB8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mage slide with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66CB45B-EE04-7820-5A04-A6590EF787B5}"/>
              </a:ext>
            </a:extLst>
          </p:cNvPr>
          <p:cNvSpPr>
            <a:spLocks noGrp="1"/>
          </p:cNvSpPr>
          <p:nvPr>
            <p:ph type="subTitle" idx="3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1773178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Overl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92E128-7C2F-966E-52CE-65AA6738AE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6DEF6-3788-B26C-6ACA-05699E41CE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2C41E4-29FB-C015-719F-3BF3E66077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1682750"/>
            <a:ext cx="11612562" cy="4594225"/>
          </a:xfrm>
          <a:solidFill>
            <a:schemeClr val="accent1">
              <a:lumMod val="40000"/>
              <a:lumOff val="60000"/>
            </a:schemeClr>
          </a:solidFill>
          <a:effectLst/>
        </p:spPr>
        <p:txBody>
          <a:bodyPr vert="horz" lIns="603504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116D17E-0BC9-B278-7F9D-F0BC9C8CB8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tent slide with image – text overlay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66CB45B-EE04-7820-5A04-A6590EF787B5}"/>
              </a:ext>
            </a:extLst>
          </p:cNvPr>
          <p:cNvSpPr>
            <a:spLocks noGrp="1"/>
          </p:cNvSpPr>
          <p:nvPr>
            <p:ph type="subTitle" idx="3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B404112-BF5E-99E9-3ECE-DAF19FA56E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804" y="1851212"/>
            <a:ext cx="5315983" cy="4280647"/>
          </a:xfrm>
          <a:solidFill>
            <a:schemeClr val="bg1">
              <a:alpha val="78000"/>
            </a:schemeClr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78024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Side, Two Images and 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2" y="-1"/>
            <a:ext cx="5041900" cy="3357563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530259"/>
            <a:ext cx="5763176" cy="2437590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BD7E72A-8905-2356-5BB6-1D7190DA19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3738" y="3793938"/>
            <a:ext cx="4753803" cy="2485838"/>
          </a:xfrm>
          <a:noFill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033146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7213EC5-391F-7979-878D-C0B84427D2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85094" y="3793938"/>
            <a:ext cx="3442447" cy="2485838"/>
          </a:xfrm>
          <a:noFill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433002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6E14EEE-7841-0138-904A-84100ED257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738" y="3793938"/>
            <a:ext cx="4753803" cy="2485838"/>
          </a:xfrm>
          <a:noFill/>
        </p:spPr>
        <p:txBody>
          <a:bodyPr lIns="0" tIns="0" rIns="0" bIns="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043004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2850776" cy="6858000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3E021E-6619-E83A-F4C0-133FC3FFD1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1046" y="408933"/>
            <a:ext cx="8715699" cy="468590"/>
          </a:xfrm>
        </p:spPr>
        <p:txBody>
          <a:bodyPr anchor="b"/>
          <a:lstStyle/>
          <a:p>
            <a:r>
              <a:rPr lang="en-US"/>
              <a:t>Content slide with image column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540E930-73A2-5D30-67F9-096813B239AD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3170914" y="860286"/>
            <a:ext cx="8720506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7F55F21-F487-22FB-9BCA-3FFAC6DDC9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59" y="1721223"/>
            <a:ext cx="8740589" cy="4491318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Graphic 6">
            <a:extLst>
              <a:ext uri="{FF2B5EF4-FFF2-40B4-BE49-F238E27FC236}">
                <a16:creationId xmlns:a16="http://schemas.microsoft.com/office/drawing/2014/main" id="{59BFA9B0-A677-073A-B52B-FD3313A23AF4}"/>
              </a:ext>
            </a:extLst>
          </p:cNvPr>
          <p:cNvSpPr>
            <a:spLocks noChangeAspect="1"/>
          </p:cNvSpPr>
          <p:nvPr userDrawn="1"/>
        </p:nvSpPr>
        <p:spPr>
          <a:xfrm>
            <a:off x="3179419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40380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/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AFE847-C10E-08E7-D3E2-3C27D30B57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1EB1D-9C3F-DF12-452F-59B08F6F15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85CD3ED3-C708-DB8B-CFFB-87671E2D8F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1682750"/>
            <a:ext cx="11610975" cy="45942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504AED-165F-AAE3-5E66-C21333BF26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ab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4364ECE-EEE9-E369-FAE5-34F7DC130805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32986434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/Divider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C444F91-0F35-3A7E-D84E-3A8603FFC2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Questions?</a:t>
            </a:r>
            <a:endParaRPr lang="en-GB"/>
          </a:p>
        </p:txBody>
      </p:sp>
      <p:sp>
        <p:nvSpPr>
          <p:cNvPr id="11" name="Graphic 6">
            <a:extLst>
              <a:ext uri="{FF2B5EF4-FFF2-40B4-BE49-F238E27FC236}">
                <a16:creationId xmlns:a16="http://schemas.microsoft.com/office/drawing/2014/main" id="{68BFC76A-2E3C-E6E3-8376-D8A94C33FD3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97601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/Divid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6">
            <a:extLst>
              <a:ext uri="{FF2B5EF4-FFF2-40B4-BE49-F238E27FC236}">
                <a16:creationId xmlns:a16="http://schemas.microsoft.com/office/drawing/2014/main" id="{9BF92F1C-9A54-B03C-F58F-3EB1591B622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B65A08-A61F-ABBB-21EF-EC03DF0E1D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Questions?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0400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3C0F0F-F865-9B7C-5423-8532BDBDC5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4" name="Text Placeholder 31">
            <a:extLst>
              <a:ext uri="{FF2B5EF4-FFF2-40B4-BE49-F238E27FC236}">
                <a16:creationId xmlns:a16="http://schemas.microsoft.com/office/drawing/2014/main" id="{2786DE93-20F5-50D1-6666-CF1340310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3543515"/>
            <a:ext cx="3764795" cy="813645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  <a:p>
            <a:endParaRPr lang="en-US" noProof="0"/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E50FAE3A-A346-86D2-7B47-D8D09A5F4D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3128936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5D09E49A-B4BD-BA1E-D855-528EC542B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19868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52F37DF-B279-49B3-B79A-F67FBB59C8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112482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7658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/Divider3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6">
            <a:extLst>
              <a:ext uri="{FF2B5EF4-FFF2-40B4-BE49-F238E27FC236}">
                <a16:creationId xmlns:a16="http://schemas.microsoft.com/office/drawing/2014/main" id="{AF0B85A5-9C99-621C-A009-04183FA7920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9F60F3F-7E8D-1E06-84C7-5AA4270A65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Questions?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80412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/Divider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C444F91-0F35-3A7E-D84E-3A8603FFC2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hank you!</a:t>
            </a:r>
            <a:endParaRPr lang="en-GB"/>
          </a:p>
        </p:txBody>
      </p:sp>
      <p:sp>
        <p:nvSpPr>
          <p:cNvPr id="11" name="Graphic 6">
            <a:extLst>
              <a:ext uri="{FF2B5EF4-FFF2-40B4-BE49-F238E27FC236}">
                <a16:creationId xmlns:a16="http://schemas.microsoft.com/office/drawing/2014/main" id="{68BFC76A-2E3C-E6E3-8376-D8A94C33FD3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015283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/Divid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6">
            <a:extLst>
              <a:ext uri="{FF2B5EF4-FFF2-40B4-BE49-F238E27FC236}">
                <a16:creationId xmlns:a16="http://schemas.microsoft.com/office/drawing/2014/main" id="{9BF92F1C-9A54-B03C-F58F-3EB1591B622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B65A08-A61F-ABBB-21EF-EC03DF0E1D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hank you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3971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/Divider3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6">
            <a:extLst>
              <a:ext uri="{FF2B5EF4-FFF2-40B4-BE49-F238E27FC236}">
                <a16:creationId xmlns:a16="http://schemas.microsoft.com/office/drawing/2014/main" id="{AF0B85A5-9C99-621C-A009-04183FA7920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9F60F3F-7E8D-1E06-84C7-5AA4270A65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685081"/>
            <a:ext cx="7239000" cy="1229952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96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Thank you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9300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B05420C-C759-6314-8DD4-4116029E51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9907" y="2158584"/>
            <a:ext cx="9292186" cy="254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8598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12DA585-3609-3949-B7EC-BB10D0D4CB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2173" y="566511"/>
            <a:ext cx="11527654" cy="805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the 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1BB61E-B3A9-CD42-9FE9-B78D847F0DBD}"/>
              </a:ext>
            </a:extLst>
          </p:cNvPr>
          <p:cNvSpPr/>
          <p:nvPr userDrawn="1"/>
        </p:nvSpPr>
        <p:spPr>
          <a:xfrm>
            <a:off x="0" y="0"/>
            <a:ext cx="12192000" cy="3374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85B0ABC-DFE0-491B-B5CD-0D9036C53ED1}"/>
              </a:ext>
            </a:extLst>
          </p:cNvPr>
          <p:cNvSpPr txBox="1">
            <a:spLocks/>
          </p:cNvSpPr>
          <p:nvPr userDrawn="1"/>
        </p:nvSpPr>
        <p:spPr>
          <a:xfrm>
            <a:off x="332173" y="6531586"/>
            <a:ext cx="2743200" cy="2127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13 March 2020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095F2E05-9566-4C65-9DBA-491681FDA8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94587" y="6132992"/>
            <a:ext cx="2317880" cy="734533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B89C4D4-7581-416F-9C18-422DD1430486}"/>
              </a:ext>
            </a:extLst>
          </p:cNvPr>
          <p:cNvSpPr txBox="1">
            <a:spLocks/>
          </p:cNvSpPr>
          <p:nvPr userDrawn="1"/>
        </p:nvSpPr>
        <p:spPr>
          <a:xfrm>
            <a:off x="11569083" y="6358568"/>
            <a:ext cx="443144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7122A2-72E5-954E-811B-666445CFCEB1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829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864">
          <p15:clr>
            <a:srgbClr val="FBAE40"/>
          </p15:clr>
        </p15:guide>
        <p15:guide id="4" orient="horz" pos="1008">
          <p15:clr>
            <a:srgbClr val="FBAE40"/>
          </p15:clr>
        </p15:guide>
        <p15:guide id="5" orient="horz" pos="216">
          <p15:clr>
            <a:srgbClr val="FBAE40"/>
          </p15:clr>
        </p15:guide>
        <p15:guide id="6" pos="7488">
          <p15:clr>
            <a:srgbClr val="FBAE40"/>
          </p15:clr>
        </p15:guide>
        <p15:guide id="7" pos="19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adrão do plano de fundo&#10;&#10;Descrição gerada automaticamente">
            <a:extLst>
              <a:ext uri="{FF2B5EF4-FFF2-40B4-BE49-F238E27FC236}">
                <a16:creationId xmlns:a16="http://schemas.microsoft.com/office/drawing/2014/main" id="{AD79DE6D-4140-EE3D-31EF-82F4ED085D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775568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471681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9267515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04271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F421F-0A8B-9E9B-92F4-BAC2F7E42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701" y="0"/>
            <a:ext cx="12166598" cy="6857999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2C25103-1EBA-F362-3ACE-DD40EACA2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32875" y="5774873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1D20C59F-287A-3B1B-2DD5-BA26635933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2875" y="5360294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87CF6FC0-E7D0-93FE-BA0C-A44C97F76D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389433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F56C941-7853-890E-483F-F249DA69B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282047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0524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5111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4CFCD3-465F-AFBF-C8B7-862E3E4276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3C41F4A2-6867-D87C-8F80-9CB55D304D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3543515"/>
            <a:ext cx="3764795" cy="813645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6CDE80A1-3F87-ECEE-F4F9-2A48FE1784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3128936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09CA3CB-3603-07E8-76AE-509F5F86B2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19868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4C82A89-DB2B-A162-98B3-B162367815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112482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064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/Divider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C444F91-0F35-3A7E-D84E-3A8603FFC2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3AFB1EE3-8D47-2ADC-37C3-0D160A4035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1" name="Graphic 6">
            <a:extLst>
              <a:ext uri="{FF2B5EF4-FFF2-40B4-BE49-F238E27FC236}">
                <a16:creationId xmlns:a16="http://schemas.microsoft.com/office/drawing/2014/main" id="{68BFC76A-2E3C-E6E3-8376-D8A94C33FD3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CDA47FE-4B1A-B9BE-2077-F0A1967B6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6572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/Divid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6">
            <a:extLst>
              <a:ext uri="{FF2B5EF4-FFF2-40B4-BE49-F238E27FC236}">
                <a16:creationId xmlns:a16="http://schemas.microsoft.com/office/drawing/2014/main" id="{9BF92F1C-9A54-B03C-F58F-3EB1591B622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6AB1FF-658F-870D-E3B1-F5E6F3C8A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D4309798-1B74-B800-35DC-1BEBCCB4F3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3884952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/Divider3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6">
            <a:extLst>
              <a:ext uri="{FF2B5EF4-FFF2-40B4-BE49-F238E27FC236}">
                <a16:creationId xmlns:a16="http://schemas.microsoft.com/office/drawing/2014/main" id="{AF0B85A5-9C99-621C-A009-04183FA7920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6C9EC32-E299-329C-772D-36857B1280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4EE7E17E-6C58-B851-7FBD-141AA52DF2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657920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A3F492-71E4-8F8E-BA39-DC5E5902EC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7000"/>
          </a:blip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E78AC21-EF77-6B64-B7D6-7757EBFB8096}"/>
              </a:ext>
            </a:extLst>
          </p:cNvPr>
          <p:cNvSpPr/>
          <p:nvPr userDrawn="1"/>
        </p:nvSpPr>
        <p:spPr>
          <a:xfrm rot="10800000">
            <a:off x="0" y="-3568"/>
            <a:ext cx="8001000" cy="6858000"/>
          </a:xfrm>
          <a:prstGeom prst="rect">
            <a:avLst/>
          </a:prstGeom>
          <a:gradFill>
            <a:gsLst>
              <a:gs pos="35000">
                <a:schemeClr val="tx1">
                  <a:alpha val="0"/>
                </a:schemeClr>
              </a:gs>
              <a:gs pos="80000">
                <a:schemeClr val="tx1">
                  <a:alpha val="3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48768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489242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</a:t>
            </a:r>
            <a:br>
              <a:rPr lang="en-GB"/>
            </a:br>
            <a:r>
              <a:rPr lang="en-GB"/>
              <a:t>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80BB0E6-94C7-6D2D-3841-9EB86FEBE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3396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5" y="261082"/>
            <a:ext cx="8676633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2" name="Graphic 3">
            <a:extLst>
              <a:ext uri="{FF2B5EF4-FFF2-40B4-BE49-F238E27FC236}">
                <a16:creationId xmlns:a16="http://schemas.microsoft.com/office/drawing/2014/main" id="{451705C3-64AD-B944-7DD9-8FF5ECC05A8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accent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954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223746-A69C-E525-97DC-515C17670C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72390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</a:t>
            </a:r>
            <a:br>
              <a:rPr lang="en-GB"/>
            </a:br>
            <a:r>
              <a:rPr lang="en-GB"/>
              <a:t>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866D17B-3816-896E-3514-04FFA3550A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9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C6A0D32-C068-C452-AAA1-0EB675051E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51758"/>
            <a:ext cx="12191491" cy="6909758"/>
          </a:xfrm>
          <a:prstGeom prst="rect">
            <a:avLst/>
          </a:prstGeom>
        </p:spPr>
      </p:pic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48006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48006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00094C0-D496-BE58-6AB6-2C3F4B86B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24549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906"/>
            <a:ext cx="12176760" cy="685509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E78AC21-EF77-6B64-B7D6-7757EBFB8096}"/>
              </a:ext>
            </a:extLst>
          </p:cNvPr>
          <p:cNvSpPr/>
          <p:nvPr userDrawn="1"/>
        </p:nvSpPr>
        <p:spPr>
          <a:xfrm>
            <a:off x="0" y="-2906"/>
            <a:ext cx="11897670" cy="6858000"/>
          </a:xfrm>
          <a:prstGeom prst="rect">
            <a:avLst/>
          </a:prstGeom>
          <a:gradFill>
            <a:gsLst>
              <a:gs pos="59000">
                <a:srgbClr val="F1F6FA">
                  <a:alpha val="0"/>
                </a:srgbClr>
              </a:gs>
              <a:gs pos="98000">
                <a:srgbClr val="F1F6FA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7E47A223-D6FB-DECB-4BE4-0FA622F96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A9D597C-CA2F-0740-C125-CC388D420040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tx1"/>
                </a:solidFill>
                <a:effectLst/>
                <a:latin typeface="+mn-lt"/>
              </a:rPr>
              <a:t>Abstract liquid with molecu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993941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12192"/>
            <a:ext cx="12192000" cy="686090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E57E74-5A53-5E8D-5574-2E761CB44927}"/>
              </a:ext>
            </a:extLst>
          </p:cNvPr>
          <p:cNvSpPr/>
          <p:nvPr userDrawn="1"/>
        </p:nvSpPr>
        <p:spPr>
          <a:xfrm>
            <a:off x="0" y="0"/>
            <a:ext cx="11897670" cy="6858000"/>
          </a:xfrm>
          <a:prstGeom prst="rect">
            <a:avLst/>
          </a:prstGeom>
          <a:gradFill>
            <a:gsLst>
              <a:gs pos="59000">
                <a:schemeClr val="bg2">
                  <a:lumMod val="25000"/>
                  <a:alpha val="0"/>
                </a:schemeClr>
              </a:gs>
              <a:gs pos="99000">
                <a:schemeClr val="tx1"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BCB70EC-80F8-0C66-2F5E-BAA70A9DA4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Graphic 6">
            <a:extLst>
              <a:ext uri="{FF2B5EF4-FFF2-40B4-BE49-F238E27FC236}">
                <a16:creationId xmlns:a16="http://schemas.microsoft.com/office/drawing/2014/main" id="{F03F06C7-0615-B9DA-3DDF-8F08829AB9D0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2EDFB14-B557-BEFC-D276-810620AA9FEF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bg1"/>
                </a:solidFill>
                <a:effectLst/>
                <a:latin typeface="+mn-lt"/>
              </a:rPr>
              <a:t>DNA molecu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EAFCF4D-3E46-DC18-A504-A3EF0023D1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5274DD72-E107-49EC-82C0-DEF1241ADB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3174623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title-Molecules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6861"/>
          <a:stretch/>
        </p:blipFill>
        <p:spPr>
          <a:xfrm>
            <a:off x="0" y="0"/>
            <a:ext cx="12192000" cy="686090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C5E7A1F-016D-EC41-7994-8CCC0A9E4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FCBADC23-CE83-11C6-9C93-880ADE4015A3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4F7F30-0D59-3EFA-5154-91B461DA6077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bg1"/>
                </a:solidFill>
                <a:effectLst/>
                <a:latin typeface="+mn-lt"/>
              </a:rPr>
              <a:t>DNA Microscopic red blood cel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D7833DC-DE9D-A69A-8447-8C87DEDA0F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E268D709-8000-7310-700E-BAAB597252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38105720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Memb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659033" y="551768"/>
            <a:ext cx="4946184" cy="5564458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</a:t>
            </a:r>
            <a:br>
              <a:rPr lang="en-US"/>
            </a:br>
            <a:r>
              <a:rPr lang="en-US"/>
              <a:t>team member headshot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893706"/>
            <a:ext cx="5733085" cy="53559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nam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3456820"/>
            <a:ext cx="5733085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5ED696B4-406E-0FB8-EA0B-E53B61E554E6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0985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am Members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1419366"/>
            <a:ext cx="3775075" cy="3947118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US" dirty="0"/>
            </a:lvl1pPr>
          </a:lstStyle>
          <a:p>
            <a:pPr marR="0" lvl="0" fontAlgn="auto">
              <a:lnSpc>
                <a:spcPct val="110000"/>
              </a:lnSpc>
              <a:buClrTx/>
              <a:buSzTx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5510947"/>
            <a:ext cx="3775075" cy="5381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1419366"/>
            <a:ext cx="3775075" cy="3947118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US" dirty="0"/>
            </a:lvl1pPr>
          </a:lstStyle>
          <a:p>
            <a:pPr marR="0" lvl="0" fontAlgn="auto">
              <a:lnSpc>
                <a:spcPct val="110000"/>
              </a:lnSpc>
              <a:buClrTx/>
              <a:buSzTx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5510947"/>
            <a:ext cx="3775075" cy="5381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3E19F3D7-F90A-46D9-2B6B-5F973B52BDE0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5A186C38-C0A4-EF76-ABDB-3892D05F9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4" y="3006000"/>
            <a:ext cx="368280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eam slide tit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13990F5-0EB1-0054-FC7C-D0C6E869D32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3" y="3456820"/>
            <a:ext cx="3682806" cy="2769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877190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Team Members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8052" y="1600200"/>
            <a:ext cx="2795588" cy="2409826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US" dirty="0"/>
            </a:lvl1pPr>
          </a:lstStyle>
          <a:p>
            <a:pPr marR="0" lvl="0" fontAlgn="auto">
              <a:lnSpc>
                <a:spcPct val="110000"/>
              </a:lnSpc>
              <a:buClrTx/>
              <a:buSzTx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98051" y="415448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62764" y="1600200"/>
            <a:ext cx="2795588" cy="2409826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US" dirty="0"/>
            </a:lvl1pPr>
          </a:lstStyle>
          <a:p>
            <a:pPr marR="0" lvl="0" fontAlgn="auto">
              <a:lnSpc>
                <a:spcPct val="110000"/>
              </a:lnSpc>
              <a:buClrTx/>
              <a:buSzTx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62763" y="415448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656347" y="1600200"/>
            <a:ext cx="2795588" cy="2409826"/>
          </a:xfrm>
          <a:solidFill>
            <a:srgbClr val="F6F3F2"/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US" dirty="0"/>
            </a:lvl1pPr>
          </a:lstStyle>
          <a:p>
            <a:pPr marR="0" lvl="0" fontAlgn="auto">
              <a:lnSpc>
                <a:spcPct val="110000"/>
              </a:lnSpc>
              <a:buClrTx/>
              <a:buSzTx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6346" y="415448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F98AA2-E2DC-E0E0-4C8F-760BB9A932E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82FD8FC-F7B2-9C6C-B17A-E86A85F913E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6">
            <a:extLst>
              <a:ext uri="{FF2B5EF4-FFF2-40B4-BE49-F238E27FC236}">
                <a16:creationId xmlns:a16="http://schemas.microsoft.com/office/drawing/2014/main" id="{2BDA1936-DAE8-D310-08BC-E432CB5DE2F6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44B3681-25B1-1B39-8077-04C9F2D61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eam slide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1B5589C-C1F5-E27D-27DA-C5A100C8B832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4393511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Memeb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584325"/>
            <a:ext cx="2795588" cy="2549525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278313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584325"/>
            <a:ext cx="2795588" cy="2549525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278313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584325"/>
            <a:ext cx="2795588" cy="2549525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278313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584325"/>
            <a:ext cx="2795588" cy="2549525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278313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D57EBE8-7F6F-296D-0568-2EC31D569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eam slid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99E0237-7F6C-E4B4-27D0-A99FF3078B4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1620440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Team Memb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822450"/>
            <a:ext cx="1811338" cy="1893887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906475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7AB5F237-7215-1548-B537-4FDB64A31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eam slide title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09CBCF5-3A44-2AC5-6E03-72616EE7E65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34675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0558AF5-DFC0-6B58-4F40-BC742ECD3F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89180" y="292579"/>
            <a:ext cx="1790700" cy="27940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11B252-08ED-2487-2BB0-B1E4E398AC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0553" y="1518894"/>
            <a:ext cx="11393227" cy="4510432"/>
          </a:xfrm>
          <a:prstGeom prst="rect">
            <a:avLst/>
          </a:prstGeom>
        </p:spPr>
        <p:txBody>
          <a:bodyPr anchor="ctr" anchorCtr="0"/>
          <a:lstStyle/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98243-5D9B-7D88-6FF5-181C5D2AB5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0839" y="6170276"/>
            <a:ext cx="2263786" cy="46294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6EE8F639-49DB-C2D8-0017-AB8550DAD5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20C480-D06E-7426-1166-B63B842F1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br>
              <a:rPr lang="en-US"/>
            </a:br>
            <a:r>
              <a:rPr lang="en-US"/>
              <a:t>Janssen Research &amp; Development, LLC</a:t>
            </a:r>
          </a:p>
        </p:txBody>
      </p:sp>
    </p:spTree>
    <p:extLst>
      <p:ext uri="{BB962C8B-B14F-4D97-AF65-F5344CB8AC3E}">
        <p14:creationId xmlns:p14="http://schemas.microsoft.com/office/powerpoint/2010/main" val="3163174793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Team Memb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 algn="ctr"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682749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3088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965156"/>
            <a:ext cx="1810800" cy="1385599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415533"/>
            <a:ext cx="1811338" cy="430887"/>
          </a:xfrm>
          <a:effectLst/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</a:t>
            </a:r>
            <a:r>
              <a:rPr lang="en-GB" err="1"/>
              <a:t>lastname</a:t>
            </a:r>
            <a:endParaRPr lang="en-GB"/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665EF74-9E9E-3497-D06C-84CF801F13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eam slide title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2D05E546-8A3E-2D6C-5D78-CCF51209AFC6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1250950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0578" y="14967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70578" y="19888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70578" y="24162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0578" y="29083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70578" y="331542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0578" y="380746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70578" y="42272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0578" y="47193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70578" y="51467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0578" y="56388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25A7DF7-2BB4-8AA8-B2A3-9DD4ACD2CC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39709" y="14967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6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911E195-B53E-E670-62A8-2283A8549F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9709" y="19888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5875A66-7E2B-3669-478E-433347241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9709" y="24162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7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BC0C1FC1-6402-F99B-CE34-CAA4F1068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39709" y="29083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65BF8C7C-40E7-6AFF-9E87-15CB2B34CE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39709" y="331542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8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5783648-46A6-0DE3-E939-D5C3CE9945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639709" y="380746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978D1D45-2BBC-9781-D540-F6C2AB6F9F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39709" y="42272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9CE82453-5E45-157F-1CBD-DF547CF489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39709" y="47193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25A3734C-7591-F6B3-B440-7DF14C9EFF1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39709" y="51467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0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40673385-9822-BBFB-B941-779D692BD3B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39709" y="56388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Agenda 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85181A69-ADE9-AF9F-9C5C-C5623E9D24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1418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D21F9DCC-8820-465C-9BCD-2B635D70D0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1418" y="242515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Text Placeholder 11">
            <a:extLst>
              <a:ext uri="{FF2B5EF4-FFF2-40B4-BE49-F238E27FC236}">
                <a16:creationId xmlns:a16="http://schemas.microsoft.com/office/drawing/2014/main" id="{17EB7968-3C4E-8400-7C22-9F3124F9A9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1418" y="332431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B65A68A6-236E-BF44-8E95-79A8FC4EA4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1418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27B7B861-660F-05FA-B99A-199397E1F95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418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5ACE5FF1-6816-8E9E-42A0-08B468B723F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7443" y="150567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65" name="Text Placeholder 11">
            <a:extLst>
              <a:ext uri="{FF2B5EF4-FFF2-40B4-BE49-F238E27FC236}">
                <a16:creationId xmlns:a16="http://schemas.microsoft.com/office/drawing/2014/main" id="{655F1736-87DB-68B4-73B5-747D4A0CB9A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77443" y="242515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66" name="Text Placeholder 11">
            <a:extLst>
              <a:ext uri="{FF2B5EF4-FFF2-40B4-BE49-F238E27FC236}">
                <a16:creationId xmlns:a16="http://schemas.microsoft.com/office/drawing/2014/main" id="{75442D3A-515A-DC7A-E89A-CB49644D8C8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77443" y="332431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67" name="Text Placeholder 11">
            <a:extLst>
              <a:ext uri="{FF2B5EF4-FFF2-40B4-BE49-F238E27FC236}">
                <a16:creationId xmlns:a16="http://schemas.microsoft.com/office/drawing/2014/main" id="{76CB0B43-A1C7-139A-E39C-54002DB51F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777443" y="423617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68" name="Text Placeholder 11">
            <a:extLst>
              <a:ext uri="{FF2B5EF4-FFF2-40B4-BE49-F238E27FC236}">
                <a16:creationId xmlns:a16="http://schemas.microsoft.com/office/drawing/2014/main" id="{F33C6B49-C632-691B-0550-F43EA5888D4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77443" y="51556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35515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672" y="149678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E5E8ACE-89D7-7E5A-5AF6-923864EE64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7512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6672" y="198882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6672" y="241626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FBBDC273-150E-1234-1FC9-D7710D1A4D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7512" y="24251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6672" y="290830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6672" y="331542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29D2EC7B-B3A2-C7BC-7989-1A21D467A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37512" y="332431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6672" y="380746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6672" y="422728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DD0488CB-385E-1E2D-D4B9-D8D2870B7F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7512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6672" y="471932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6672" y="514676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75F73961-3821-6383-AEF7-28E758CC6C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37512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6672" y="563880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7162" y="368592"/>
            <a:ext cx="6435226" cy="468590"/>
          </a:xfrm>
        </p:spPr>
        <p:txBody>
          <a:bodyPr anchor="b"/>
          <a:lstStyle/>
          <a:p>
            <a:r>
              <a:rPr lang="en-US"/>
              <a:t>Agenda with image 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5277161" y="819945"/>
            <a:ext cx="6438775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E6B0AE9-E62A-7D03-1CA2-04D272313F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6858001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5EE2984E-C6B4-E19C-9265-085291608FAF}"/>
              </a:ext>
            </a:extLst>
          </p:cNvPr>
          <p:cNvSpPr>
            <a:spLocks noChangeAspect="1"/>
          </p:cNvSpPr>
          <p:nvPr userDrawn="1"/>
        </p:nvSpPr>
        <p:spPr>
          <a:xfrm>
            <a:off x="5344396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5970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0578" y="149678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E5E8ACE-89D7-7E5A-5AF6-923864EE64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1418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70578" y="198882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70578" y="241626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FBBDC273-150E-1234-1FC9-D7710D1A4D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1418" y="242515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0578" y="290830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70578" y="331542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29D2EC7B-B3A2-C7BC-7989-1A21D467A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1418" y="332431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0578" y="380746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70578" y="422728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DD0488CB-385E-1E2D-D4B9-D8D2870B7F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1418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0578" y="471932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70578" y="514676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75F73961-3821-6383-AEF7-28E758CC6C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418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0578" y="563880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25A7DF7-2BB4-8AA8-B2A3-9DD4ACD2CC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23801" y="149678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6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9CC4C6-7049-9B67-C270-1CDF3BE52E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34642" y="150567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911E195-B53E-E670-62A8-2283A8549F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23801" y="198882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5875A66-7E2B-3669-478E-433347241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23801" y="241626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7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3B9D43A-A246-F9BC-C453-594C14AD93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4642" y="242515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BC0C1FC1-6402-F99B-CE34-CAA4F1068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23801" y="290830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65BF8C7C-40E7-6AFF-9E87-15CB2B34CE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23801" y="331542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8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4EF4EBBE-3E01-91F8-C62C-7FB12B322D7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4642" y="332431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5783648-46A6-0DE3-E939-D5C3CE9945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23801" y="380746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978D1D45-2BBC-9781-D540-F6C2AB6F9F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23801" y="422728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9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548E704-5D6A-95F2-6E90-9AC63FD1E3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34642" y="423617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9CE82453-5E45-157F-1CBD-DF547CF489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23801" y="471932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25A3734C-7591-F6B3-B440-7DF14C9EFF1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23801" y="514676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0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E7A26887-0CBE-13BE-E5D0-883C4D7ED91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4642" y="51556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40673385-9822-BBFB-B941-779D692BD3B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23801" y="563880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able of contents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CCF7DB6C-9094-E5D9-1D05-0196482C70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251884" y="1418011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170118B-0FF1-DBA0-24BC-14F82A3D37F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251884" y="2339788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3AC2F8AF-3994-4D53-82C6-5AFD55D56C6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51884" y="3249706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3B380E28-37B4-A444-F064-342C38B36B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251884" y="41506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9CC69491-CB60-11B2-A157-AAC5255431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51884" y="50650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B9CF33B0-2228-E0E1-A0B6-1145416D485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1147613" y="1418011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1" name="Text Placeholder 11">
            <a:extLst>
              <a:ext uri="{FF2B5EF4-FFF2-40B4-BE49-F238E27FC236}">
                <a16:creationId xmlns:a16="http://schemas.microsoft.com/office/drawing/2014/main" id="{6E383CA7-5444-4A0C-7F1F-844387471D1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147613" y="2339788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A07875B0-7910-A03A-DC90-E6E69A64C29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1147613" y="3249706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2582E337-53E1-FFCC-9BDF-C2F9421D221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147613" y="41506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5A9FDE1A-33A9-BBBD-C811-057494648A9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147613" y="50650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975089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14815-4091-68A3-E757-BBBCFE258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Content slide-bulle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8A1EB-51B0-F1BD-E581-C715DE73B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17FD4-4140-CD43-8431-8172E19E55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D914B08B-E3EC-5B6C-52D7-394475A4A1DA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726C4AD-8F81-6EAE-E2A0-4C2A2EAC376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D1CE92-80F6-BCB5-D5A8-3DC9872407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86" y="1682750"/>
            <a:ext cx="11590552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682209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Callout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2111745"/>
            <a:ext cx="11612563" cy="2251249"/>
          </a:xfrm>
        </p:spPr>
        <p:txBody>
          <a:bodyPr anchor="ctr"/>
          <a:lstStyle>
            <a:lvl1pPr>
              <a:lnSpc>
                <a:spcPct val="80000"/>
              </a:lnSpc>
              <a:defRPr sz="7400" b="0" i="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Key point call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9426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Callou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2111745"/>
            <a:ext cx="11612563" cy="2251249"/>
          </a:xfrm>
        </p:spPr>
        <p:txBody>
          <a:bodyPr anchor="ctr"/>
          <a:lstStyle>
            <a:lvl1pPr>
              <a:lnSpc>
                <a:spcPct val="80000"/>
              </a:lnSpc>
              <a:defRPr sz="7400" b="0" i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Key point call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AF6FE718-6D5F-8DC1-A5A7-D143A261CF0C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61234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741" y="1936934"/>
            <a:ext cx="10327341" cy="2251249"/>
          </a:xfrm>
        </p:spPr>
        <p:txBody>
          <a:bodyPr anchor="ctr"/>
          <a:lstStyle>
            <a:lvl1pPr algn="ctr">
              <a:lnSpc>
                <a:spcPct val="80000"/>
              </a:lnSpc>
              <a:defRPr sz="7400" b="0" i="1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quote </a:t>
            </a:r>
            <a:br>
              <a:rPr lang="en-US"/>
            </a:br>
            <a:r>
              <a:rPr lang="en-US"/>
              <a:t>or statement tex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AF6FE718-6D5F-8DC1-A5A7-D143A261CF0C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E88B32-FEE7-7A6F-A9D1-4BF29A9BFF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7085" y="4623892"/>
            <a:ext cx="6328833" cy="1042923"/>
          </a:xfrm>
        </p:spPr>
        <p:txBody>
          <a:bodyPr/>
          <a:lstStyle>
            <a:lvl1pPr marL="0" indent="0" algn="r">
              <a:lnSpc>
                <a:spcPts val="6666"/>
              </a:lnSpc>
              <a:spcBef>
                <a:spcPts val="0"/>
              </a:spcBef>
              <a:buNone/>
              <a:defRPr sz="2000" b="0" i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C3E548-9794-EE47-AF0E-66BFFC83D04C}"/>
              </a:ext>
            </a:extLst>
          </p:cNvPr>
          <p:cNvSpPr txBox="1"/>
          <p:nvPr userDrawn="1"/>
        </p:nvSpPr>
        <p:spPr>
          <a:xfrm>
            <a:off x="397136" y="726889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bg1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C49D2F-42CD-3A0F-B851-83C61ADB494F}"/>
              </a:ext>
            </a:extLst>
          </p:cNvPr>
          <p:cNvSpPr txBox="1"/>
          <p:nvPr userDrawn="1"/>
        </p:nvSpPr>
        <p:spPr>
          <a:xfrm rot="10800000">
            <a:off x="11336020" y="229276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bg1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6237149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741" y="1977275"/>
            <a:ext cx="10327341" cy="2251249"/>
          </a:xfrm>
        </p:spPr>
        <p:txBody>
          <a:bodyPr anchor="ctr"/>
          <a:lstStyle>
            <a:lvl1pPr algn="ctr">
              <a:lnSpc>
                <a:spcPct val="80000"/>
              </a:lnSpc>
              <a:defRPr sz="7400" b="0" i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quote </a:t>
            </a:r>
            <a:br>
              <a:rPr lang="en-US"/>
            </a:br>
            <a:r>
              <a:rPr lang="en-US"/>
              <a:t>or statement tex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E88B32-FEE7-7A6F-A9D1-4BF29A9BFF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7085" y="4596998"/>
            <a:ext cx="6328833" cy="1042923"/>
          </a:xfrm>
        </p:spPr>
        <p:txBody>
          <a:bodyPr/>
          <a:lstStyle>
            <a:lvl1pPr marL="0" indent="0" algn="r">
              <a:lnSpc>
                <a:spcPts val="6666"/>
              </a:lnSpc>
              <a:spcBef>
                <a:spcPts val="0"/>
              </a:spcBef>
              <a:buNone/>
              <a:defRPr sz="2000" b="0" i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062DDA-5DFC-D880-93C9-64FFA1CB6609}"/>
              </a:ext>
            </a:extLst>
          </p:cNvPr>
          <p:cNvSpPr txBox="1"/>
          <p:nvPr userDrawn="1"/>
        </p:nvSpPr>
        <p:spPr>
          <a:xfrm>
            <a:off x="464372" y="68654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tx2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632528-5D04-D0FF-15D0-DD477EFA9729}"/>
              </a:ext>
            </a:extLst>
          </p:cNvPr>
          <p:cNvSpPr txBox="1"/>
          <p:nvPr userDrawn="1"/>
        </p:nvSpPr>
        <p:spPr>
          <a:xfrm rot="10800000">
            <a:off x="11336020" y="2292768"/>
            <a:ext cx="56388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9900" b="1" i="0">
                <a:solidFill>
                  <a:schemeClr val="tx2"/>
                </a:solidFill>
                <a:latin typeface="+mj-lt"/>
                <a:cs typeface="Arial Black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2719540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s/Sta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 rot="5400000">
            <a:off x="1795442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1682750"/>
            <a:ext cx="3498599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1DD8F082-A223-D042-3724-42EC4535F5C3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E67B7111-CEC3-3280-2DA5-AD1AD1D5DBB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443665" y="1682750"/>
            <a:ext cx="3447268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0" name="Picture Placeholder 91">
            <a:extLst>
              <a:ext uri="{FF2B5EF4-FFF2-40B4-BE49-F238E27FC236}">
                <a16:creationId xmlns:a16="http://schemas.microsoft.com/office/drawing/2014/main" id="{F736DB84-A7A8-BDC2-32D9-1B1F35A620BF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 rot="5400000">
            <a:off x="5818451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9E6B6652-E07F-98BB-D93E-9E0E8DA9FADC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415337" y="1682750"/>
            <a:ext cx="34845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55B8A41-1944-260E-E844-423A80D0B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umber/stat slide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23A06F5-5901-63A4-F8EB-57E4EA47E444}"/>
              </a:ext>
            </a:extLst>
          </p:cNvPr>
          <p:cNvSpPr>
            <a:spLocks noGrp="1"/>
          </p:cNvSpPr>
          <p:nvPr>
            <p:ph type="subTitle" idx="8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C2373877-0688-7808-54D9-C9ED1E212D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22116"/>
            <a:ext cx="3498599" cy="230971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74A8CC62-43F9-9799-B2A7-5C67D83AAE95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419600" y="3722116"/>
            <a:ext cx="3498599" cy="230971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150F8C0-D1EC-A44C-B79A-1502D28E2D60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382000" y="3722116"/>
            <a:ext cx="3498599" cy="230971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4734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63BDF8-1AE1-4880-81DF-468EA49C6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6D82E4-7522-40C5-B8BE-F6A9E7BD1B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C5E56F-1361-4ADE-A06C-EF1F84547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A37B2-73D7-4715-A060-A6B7A4CD2160}" type="datetimeFigureOut">
              <a:rPr lang="en-US" smtClean="0"/>
              <a:t>5/1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D7E43-7A00-47DB-959A-93EA55A8F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6AEFE-E234-4F5D-95A5-E6D32CBF7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874C4-AAB7-42F0-92FD-2BF13A4D4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12660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/Sta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Picture Placeholder 91">
            <a:extLst>
              <a:ext uri="{FF2B5EF4-FFF2-40B4-BE49-F238E27FC236}">
                <a16:creationId xmlns:a16="http://schemas.microsoft.com/office/drawing/2014/main" id="{F736DB84-A7A8-BDC2-32D9-1B1F35A620BF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 rot="5400000">
            <a:off x="5847859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55B8A41-1944-260E-E844-423A80D0B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Number/stat slide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23A06F5-5901-63A4-F8EB-57E4EA47E444}"/>
              </a:ext>
            </a:extLst>
          </p:cNvPr>
          <p:cNvSpPr>
            <a:spLocks noGrp="1"/>
          </p:cNvSpPr>
          <p:nvPr>
            <p:ph type="subTitle" idx="80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972141E1-4FD3-8B76-855F-B2E138CE8398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 rot="5400000">
            <a:off x="1795442" y="3817622"/>
            <a:ext cx="4462251" cy="192505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5C8B14EB-59C9-CEC0-D3AD-62A88AF1E92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1682750"/>
            <a:ext cx="3498599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AA7B08BC-8B4C-E1A6-6629-68081FF97F8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443664" y="1682750"/>
            <a:ext cx="3481135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3DC81895-DD95-0DB0-50F0-E306BE1D5D7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415337" y="1682750"/>
            <a:ext cx="34845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AC006A5-0687-2ECD-7030-35FB72C875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69AEE77-A08F-B980-2CBF-F36CC819D7F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419600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EB3EB1B9-138F-1ACE-0BF4-C30279ABC0FC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382000" y="3722116"/>
            <a:ext cx="3498599" cy="230971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2pPr>
            <a:lvl3pPr marL="571500" indent="-285750">
              <a:buClr>
                <a:schemeClr val="accent1"/>
              </a:buClr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86360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67418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87011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1F029B65-7086-5296-EBB1-F01430B5DF9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71720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tx2"/>
          </a:solidFill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76400"/>
            <a:ext cx="5662777" cy="4602720"/>
          </a:xfrm>
          <a:solidFill>
            <a:schemeClr val="bg2"/>
          </a:solidFill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14735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4">
    <p:bg>
      <p:bgPr>
        <a:solidFill>
          <a:srgbClr val="F4F2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  <a:solidFill>
            <a:schemeClr val="bg1"/>
          </a:solidFill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3651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29419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  <a:solidFill>
            <a:schemeClr val="bg1"/>
          </a:solidFill>
          <a:effectLst/>
        </p:spPr>
        <p:txBody>
          <a:bodyPr lIns="91440" tIns="91440" rIns="91440" bIns="91440"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E5FEC623-0EF3-80C4-DA22-823F15C50DB3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86101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AFE847-C10E-08E7-D3E2-3C27D30B57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1EB1D-9C3F-DF12-452F-59B08F6F15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85CD3ED3-C708-DB8B-CFFB-87671E2D8F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1682750"/>
            <a:ext cx="11610975" cy="45942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504AED-165F-AAE3-5E66-C21333BF26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ab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4364ECE-EEE9-E369-FAE5-34F7DC130805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411671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31294"/>
            <a:ext cx="2793541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32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31294"/>
            <a:ext cx="2793542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31294"/>
            <a:ext cx="2803525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 dirty="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31294"/>
            <a:ext cx="279399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9724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386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9"/>
            <a:ext cx="10985780" cy="4169411"/>
          </a:xfrm>
        </p:spPr>
        <p:txBody>
          <a:bodyPr/>
          <a:lstStyle>
            <a:lvl1pPr marL="234137" marR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15" marR="0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6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19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845" marR="0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37" marR="0" lvl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15" marR="0" lvl="1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62" marR="0" lvl="2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92" marR="0" lvl="3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45" marR="0" lvl="4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A0B111-687F-467D-9A21-BC763B0382D0}"/>
              </a:ext>
            </a:extLst>
          </p:cNvPr>
          <p:cNvSpPr txBox="1"/>
          <p:nvPr userDrawn="1"/>
        </p:nvSpPr>
        <p:spPr>
          <a:xfrm>
            <a:off x="733853" y="6253448"/>
            <a:ext cx="2933272" cy="2974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333">
                <a:latin typeface="Verdana" panose="020B0604030504040204" pitchFamily="34" charset="0"/>
                <a:ea typeface="Verdana" panose="020B0604030504040204" pitchFamily="34" charset="0"/>
              </a:rPr>
              <a:t>Feasibility Center of Excellence 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EA2DCC-C6AB-4A54-A24A-BDA58D809C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67125" y="6276011"/>
            <a:ext cx="1809750" cy="267229"/>
          </a:xfrm>
        </p:spPr>
        <p:txBody>
          <a:bodyPr anchor="ctr"/>
          <a:lstStyle>
            <a:lvl1pPr marL="0" indent="0">
              <a:buNone/>
              <a:defRPr sz="1333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7989815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6" y="262670"/>
            <a:ext cx="8676632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3" name="Graphic 3">
            <a:extLst>
              <a:ext uri="{FF2B5EF4-FFF2-40B4-BE49-F238E27FC236}">
                <a16:creationId xmlns:a16="http://schemas.microsoft.com/office/drawing/2014/main" id="{1B742B80-7D42-6342-D318-238C7A6CC61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4757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72427C-0F79-35DD-4A68-06C2D01C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hree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A4945F7-7114-4510-71CD-039BEC49021A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AF0DD46-6483-8E41-73BF-6A67A45A0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86" y="1682750"/>
            <a:ext cx="3785851" cy="4602720"/>
          </a:xfrm>
          <a:solidFill>
            <a:schemeClr val="tx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D90448-C371-1CE4-66BD-D9079BB63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084" y="1682750"/>
            <a:ext cx="3785851" cy="4602720"/>
          </a:xfrm>
          <a:solidFill>
            <a:schemeClr val="bg2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83D05F-4F46-D64F-6F5E-C7D7D9851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682750"/>
            <a:ext cx="3785851" cy="4602720"/>
          </a:xfrm>
          <a:solidFill>
            <a:schemeClr val="accent1"/>
          </a:solidFill>
          <a:effectLst/>
        </p:spPr>
        <p:txBody>
          <a:bodyPr lIns="91440" tIns="91440" rIns="91440" bIns="9144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85750" indent="-285750"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2pPr>
            <a:lvl3pPr marL="571500" indent="-285750">
              <a:buClr>
                <a:schemeClr val="bg1"/>
              </a:buClr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863600" indent="-285750">
              <a:buClr>
                <a:schemeClr val="bg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094519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087EEEA-F65E-787F-B7AC-8B832B471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44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087EEEA-F65E-787F-B7AC-8B832B471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 vert="horz"/>
          <a:lstStyle>
            <a:lvl1pPr>
              <a:defRPr sz="3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325474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1CFCAC-CBD2-6756-6FCF-1373A19413E5}"/>
              </a:ext>
            </a:extLst>
          </p:cNvPr>
          <p:cNvSpPr txBox="1"/>
          <p:nvPr userDrawn="1"/>
        </p:nvSpPr>
        <p:spPr>
          <a:xfrm>
            <a:off x="4521517" y="6442753"/>
            <a:ext cx="2924311" cy="1384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550277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4BA90A-D952-DC54-1A1B-39B39F00E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526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4BA90A-D952-DC54-1A1B-39B39F00E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CFB24E-BF72-EBE2-CCB7-FA0854A11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356396"/>
            <a:ext cx="11610516" cy="468590"/>
          </a:xfrm>
        </p:spPr>
        <p:txBody>
          <a:bodyPr vert="horz"/>
          <a:lstStyle>
            <a:lvl1pPr>
              <a:defRPr sz="3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20B08B-9288-315C-2C71-50F6AEB2A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1293E5-D1A3-7188-F90E-F83A706E74D1}"/>
              </a:ext>
            </a:extLst>
          </p:cNvPr>
          <p:cNvSpPr txBox="1"/>
          <p:nvPr userDrawn="1"/>
        </p:nvSpPr>
        <p:spPr>
          <a:xfrm>
            <a:off x="4902814" y="6457717"/>
            <a:ext cx="238370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712681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299169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adrão do plano de fundo&#10;&#10;Descrição gerada automaticamente">
            <a:extLst>
              <a:ext uri="{FF2B5EF4-FFF2-40B4-BE49-F238E27FC236}">
                <a16:creationId xmlns:a16="http://schemas.microsoft.com/office/drawing/2014/main" id="{AD79DE6D-4140-EE3D-31EF-82F4ED085D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12696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516" cy="4686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3" y="713621"/>
            <a:ext cx="11610516" cy="281103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807893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/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AFE847-C10E-08E7-D3E2-3C27D30B57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1EB1D-9C3F-DF12-452F-59B08F6F15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85CD3ED3-C708-DB8B-CFFB-87671E2D8F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1682750"/>
            <a:ext cx="11610975" cy="45942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504AED-165F-AAE3-5E66-C21333BF26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ab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4364ECE-EEE9-E369-FAE5-34F7DC130805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2531726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Hero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sitting on a bench&#10;&#10;Description automatically generated">
            <a:extLst>
              <a:ext uri="{FF2B5EF4-FFF2-40B4-BE49-F238E27FC236}">
                <a16:creationId xmlns:a16="http://schemas.microsoft.com/office/drawing/2014/main" id="{3F1DEBF3-1CAD-0538-694E-E176192CD0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371302" y="0"/>
            <a:ext cx="5835445" cy="6858000"/>
          </a:xfrm>
          <a:prstGeom prst="rect">
            <a:avLst/>
          </a:prstGeom>
        </p:spPr>
      </p:pic>
      <p:sp>
        <p:nvSpPr>
          <p:cNvPr id="152" name="Graphic 3">
            <a:extLst>
              <a:ext uri="{FF2B5EF4-FFF2-40B4-BE49-F238E27FC236}">
                <a16:creationId xmlns:a16="http://schemas.microsoft.com/office/drawing/2014/main" id="{78F84B8D-2512-100A-FB7E-5BB935886D2A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7125AE-4E3B-2BB2-05F6-EBF9F31BF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1835659"/>
            <a:ext cx="5900012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B26D6C03-1102-5945-C972-B36AD641F1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5980" y="3581400"/>
            <a:ext cx="587987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25E490B3-2906-A4DF-E752-48E82DC95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4693" y="6322568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DFABCF3A-EC2C-F72E-9BC7-0B70F0072F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1F9CADA7-3C08-6536-659D-F791DC4E65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92355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Hero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octor explaining something to a child&#10;&#10;Description automatically generated">
            <a:extLst>
              <a:ext uri="{FF2B5EF4-FFF2-40B4-BE49-F238E27FC236}">
                <a16:creationId xmlns:a16="http://schemas.microsoft.com/office/drawing/2014/main" id="{D1ACDD10-6DCA-6F27-18FA-1FBCFFDD8A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577780" y="0"/>
            <a:ext cx="561421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0064473-335E-2448-97D6-3C6180410BFA}"/>
              </a:ext>
            </a:extLst>
          </p:cNvPr>
          <p:cNvSpPr/>
          <p:nvPr userDrawn="1"/>
        </p:nvSpPr>
        <p:spPr>
          <a:xfrm>
            <a:off x="6577781" y="4454013"/>
            <a:ext cx="5614219" cy="2403987"/>
          </a:xfrm>
          <a:prstGeom prst="rect">
            <a:avLst/>
          </a:prstGeom>
          <a:gradFill>
            <a:gsLst>
              <a:gs pos="41000">
                <a:schemeClr val="bg1">
                  <a:alpha val="0"/>
                </a:schemeClr>
              </a:gs>
              <a:gs pos="63000">
                <a:schemeClr val="bg1">
                  <a:alpha val="49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2" name="Graphic 3">
            <a:extLst>
              <a:ext uri="{FF2B5EF4-FFF2-40B4-BE49-F238E27FC236}">
                <a16:creationId xmlns:a16="http://schemas.microsoft.com/office/drawing/2014/main" id="{78F84B8D-2512-100A-FB7E-5BB935886D2A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DEF93D-8791-1CBA-07B4-A919C28C1FC4}"/>
              </a:ext>
            </a:extLst>
          </p:cNvPr>
          <p:cNvSpPr/>
          <p:nvPr userDrawn="1"/>
        </p:nvSpPr>
        <p:spPr>
          <a:xfrm>
            <a:off x="0" y="6858000"/>
            <a:ext cx="12289536" cy="713232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E69E1E-DDD2-FB12-C52A-C4ECF0F7EB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1822450"/>
            <a:ext cx="5900012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0" name="Text Placeholder 31">
            <a:extLst>
              <a:ext uri="{FF2B5EF4-FFF2-40B4-BE49-F238E27FC236}">
                <a16:creationId xmlns:a16="http://schemas.microsoft.com/office/drawing/2014/main" id="{5C2D4EC0-B053-84C5-3BC6-C61AD10815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5980" y="3581400"/>
            <a:ext cx="587987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F5625BAD-E547-9575-77A4-9CB0FE85C7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4693" y="6322568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2" name="Text Placeholder 31">
            <a:extLst>
              <a:ext uri="{FF2B5EF4-FFF2-40B4-BE49-F238E27FC236}">
                <a16:creationId xmlns:a16="http://schemas.microsoft.com/office/drawing/2014/main" id="{4863AAE7-E3D5-FD40-7539-C40D470AC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35E07E9C-0695-85F5-BEF8-3DE1D7655D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602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071994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Hero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wearing a mask and looking through a microscope&#10;&#10;Description automatically generated">
            <a:extLst>
              <a:ext uri="{FF2B5EF4-FFF2-40B4-BE49-F238E27FC236}">
                <a16:creationId xmlns:a16="http://schemas.microsoft.com/office/drawing/2014/main" id="{6B1DBFC3-D4E0-2205-B4D2-F9E95F8C9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504038" y="0"/>
            <a:ext cx="5687961" cy="6858000"/>
          </a:xfrm>
          <a:prstGeom prst="rect">
            <a:avLst/>
          </a:prstGeom>
        </p:spPr>
      </p:pic>
      <p:sp>
        <p:nvSpPr>
          <p:cNvPr id="152" name="Graphic 3">
            <a:extLst>
              <a:ext uri="{FF2B5EF4-FFF2-40B4-BE49-F238E27FC236}">
                <a16:creationId xmlns:a16="http://schemas.microsoft.com/office/drawing/2014/main" id="{78F84B8D-2512-100A-FB7E-5BB935886D2A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DEF93D-8791-1CBA-07B4-A919C28C1FC4}"/>
              </a:ext>
            </a:extLst>
          </p:cNvPr>
          <p:cNvSpPr/>
          <p:nvPr userDrawn="1"/>
        </p:nvSpPr>
        <p:spPr>
          <a:xfrm>
            <a:off x="0" y="6858000"/>
            <a:ext cx="12289536" cy="713232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0" name="Text Placeholder 31">
            <a:extLst>
              <a:ext uri="{FF2B5EF4-FFF2-40B4-BE49-F238E27FC236}">
                <a16:creationId xmlns:a16="http://schemas.microsoft.com/office/drawing/2014/main" id="{D2FF512A-B706-26DB-21C6-9A28346A26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4693" y="6322568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26BD7A8-BAF0-1640-21A5-E0BE5627B4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1822450"/>
            <a:ext cx="5900012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C9F17A79-0B9F-9075-396B-25BED78543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5980" y="3581400"/>
            <a:ext cx="587987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657716C8-71AF-5AB9-062C-5238500C71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198BFDC1-4D53-2912-C6B6-3EA996A0D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7929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ustom Image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1FB0A9C-04B7-C7A2-29FC-BF580AA7985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07678" y="-23751"/>
            <a:ext cx="5684322" cy="6881751"/>
          </a:xfrm>
          <a:solidFill>
            <a:schemeClr val="accent1"/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52" name="Graphic 3">
            <a:extLst>
              <a:ext uri="{FF2B5EF4-FFF2-40B4-BE49-F238E27FC236}">
                <a16:creationId xmlns:a16="http://schemas.microsoft.com/office/drawing/2014/main" id="{78F84B8D-2512-100A-FB7E-5BB935886D2A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25E490B3-2906-A4DF-E752-48E82DC95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4693" y="6322568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C1CB63B-7448-9D59-763A-3DE564649F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1822450"/>
            <a:ext cx="5900012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C46B3069-2964-4900-F760-3ABBDCEBBA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5980" y="3581400"/>
            <a:ext cx="587987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9AE5032F-D7F9-32CB-DC54-1E47FED433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AA2B95F2-FA31-A969-7CAE-4AD83CAD63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36205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ustom Imag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DC90750-427F-3E92-B68D-B09719F72E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07678" y="-13591"/>
            <a:ext cx="5684322" cy="6881751"/>
          </a:xfrm>
          <a:solidFill>
            <a:schemeClr val="accent1"/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52" name="Graphic 3">
            <a:extLst>
              <a:ext uri="{FF2B5EF4-FFF2-40B4-BE49-F238E27FC236}">
                <a16:creationId xmlns:a16="http://schemas.microsoft.com/office/drawing/2014/main" id="{78F84B8D-2512-100A-FB7E-5BB935886D2A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DEF93D-8791-1CBA-07B4-A919C28C1FC4}"/>
              </a:ext>
            </a:extLst>
          </p:cNvPr>
          <p:cNvSpPr/>
          <p:nvPr userDrawn="1"/>
        </p:nvSpPr>
        <p:spPr>
          <a:xfrm>
            <a:off x="0" y="6858000"/>
            <a:ext cx="12289536" cy="713232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F5625BAD-E547-9575-77A4-9CB0FE85C7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4693" y="6322568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C29B01A-90EE-8A67-EA1E-731E4483BE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1822450"/>
            <a:ext cx="5900012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C6729711-5752-40A4-2FC2-7842F7CE8F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5980" y="3581400"/>
            <a:ext cx="587987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BBBB4104-4D44-675D-1220-2EE90AFD05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54233371-B51F-D380-8774-8623EDEF18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58493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octor showing a baby something on a tablet&#10;&#10;Description automatically generated">
            <a:extLst>
              <a:ext uri="{FF2B5EF4-FFF2-40B4-BE49-F238E27FC236}">
                <a16:creationId xmlns:a16="http://schemas.microsoft.com/office/drawing/2014/main" id="{7BE6C33A-DD27-5EE7-E3CA-15223D4FE7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76333" y="1106128"/>
            <a:ext cx="6115665" cy="575187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3E8BD3F-0C42-6FE5-36E4-40F71CC094FF}"/>
              </a:ext>
            </a:extLst>
          </p:cNvPr>
          <p:cNvSpPr/>
          <p:nvPr userDrawn="1"/>
        </p:nvSpPr>
        <p:spPr>
          <a:xfrm>
            <a:off x="6076335" y="4454013"/>
            <a:ext cx="6115665" cy="2403987"/>
          </a:xfrm>
          <a:prstGeom prst="rect">
            <a:avLst/>
          </a:prstGeom>
          <a:gradFill>
            <a:gsLst>
              <a:gs pos="34000">
                <a:schemeClr val="tx1">
                  <a:alpha val="0"/>
                </a:schemeClr>
              </a:gs>
              <a:gs pos="70000">
                <a:schemeClr val="tx1">
                  <a:alpha val="33486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2" name="Graphic 3">
            <a:extLst>
              <a:ext uri="{FF2B5EF4-FFF2-40B4-BE49-F238E27FC236}">
                <a16:creationId xmlns:a16="http://schemas.microsoft.com/office/drawing/2014/main" id="{AE274A5D-A1C4-E611-F875-134A2521B97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34" name="Picture 33" descr="A close up of bubbles&#10;&#10;Description automatically generated">
            <a:extLst>
              <a:ext uri="{FF2B5EF4-FFF2-40B4-BE49-F238E27FC236}">
                <a16:creationId xmlns:a16="http://schemas.microsoft.com/office/drawing/2014/main" id="{6BA9856E-DD87-B300-E311-2DCCBC195A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 flipH="1">
            <a:off x="-1" y="-1"/>
            <a:ext cx="6079067" cy="5706533"/>
          </a:xfrm>
          <a:prstGeom prst="rect">
            <a:avLst/>
          </a:prstGeom>
          <a:solidFill>
            <a:schemeClr val="tx2"/>
          </a:solidFill>
          <a:effectLst/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0B986F0E-4946-5FD8-9177-B8AD29110C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310725"/>
            <a:ext cx="5547469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ED68FB6A-F1B5-6F6B-B014-C7441A2D97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56AC9307-3D03-91BC-DD0E-9CBD5C1847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378CC3E9-3C21-07D3-E3E2-2EE71794C9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4" name="Text Placeholder 31">
            <a:extLst>
              <a:ext uri="{FF2B5EF4-FFF2-40B4-BE49-F238E27FC236}">
                <a16:creationId xmlns:a16="http://schemas.microsoft.com/office/drawing/2014/main" id="{D4927BF0-EE12-059C-5117-3A06378EC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61010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with curly hair smiling&#10;&#10;Description automatically generated">
            <a:extLst>
              <a:ext uri="{FF2B5EF4-FFF2-40B4-BE49-F238E27FC236}">
                <a16:creationId xmlns:a16="http://schemas.microsoft.com/office/drawing/2014/main" id="{151E1EA6-2C0D-F18B-B51B-A0B0804F01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7533" y="1125798"/>
            <a:ext cx="6104467" cy="5732202"/>
          </a:xfrm>
          <a:prstGeom prst="rect">
            <a:avLst/>
          </a:prstGeom>
        </p:spPr>
      </p:pic>
      <p:sp>
        <p:nvSpPr>
          <p:cNvPr id="32" name="Graphic 3">
            <a:extLst>
              <a:ext uri="{FF2B5EF4-FFF2-40B4-BE49-F238E27FC236}">
                <a16:creationId xmlns:a16="http://schemas.microsoft.com/office/drawing/2014/main" id="{AE274A5D-A1C4-E611-F875-134A2521B97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28" name="Picture 27" descr="A close up of bubbles&#10;&#10;Description automatically generated">
            <a:extLst>
              <a:ext uri="{FF2B5EF4-FFF2-40B4-BE49-F238E27FC236}">
                <a16:creationId xmlns:a16="http://schemas.microsoft.com/office/drawing/2014/main" id="{C135CE8D-7D81-39AD-7690-7EC0B07A7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 flipH="1">
            <a:off x="-2" y="-1"/>
            <a:ext cx="6087534" cy="5706533"/>
          </a:xfrm>
          <a:prstGeom prst="rect">
            <a:avLst/>
          </a:prstGeom>
          <a:solidFill>
            <a:srgbClr val="E8E6E3"/>
          </a:solidFill>
          <a:effectLst/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C03A5633-CC33-6B5C-9279-E9D9D0014E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310725"/>
            <a:ext cx="5547469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CB736FC-866B-1E8D-5D82-C522C81E19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94388405-D01F-A723-39E4-A340DA3B76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A65CBB1E-4CD1-EAB3-AA26-28EEC6CE72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38" name="Text Placeholder 31">
            <a:extLst>
              <a:ext uri="{FF2B5EF4-FFF2-40B4-BE49-F238E27FC236}">
                <a16:creationId xmlns:a16="http://schemas.microsoft.com/office/drawing/2014/main" id="{B9011CE5-76EB-B53D-6F77-09265D671B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02522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women in medical scrubs&#10;&#10;Description automatically generated">
            <a:extLst>
              <a:ext uri="{FF2B5EF4-FFF2-40B4-BE49-F238E27FC236}">
                <a16:creationId xmlns:a16="http://schemas.microsoft.com/office/drawing/2014/main" id="{9F35EF31-DB0E-1F5C-148A-F87452B8F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61587" y="1164302"/>
            <a:ext cx="6130414" cy="569369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BA4434A-62DE-54B0-8E2A-972A5E6EF746}"/>
              </a:ext>
            </a:extLst>
          </p:cNvPr>
          <p:cNvSpPr/>
          <p:nvPr userDrawn="1"/>
        </p:nvSpPr>
        <p:spPr>
          <a:xfrm>
            <a:off x="6076335" y="4454013"/>
            <a:ext cx="6115665" cy="2403987"/>
          </a:xfrm>
          <a:prstGeom prst="rect">
            <a:avLst/>
          </a:prstGeom>
          <a:gradFill>
            <a:gsLst>
              <a:gs pos="41000">
                <a:schemeClr val="bg1">
                  <a:alpha val="0"/>
                </a:schemeClr>
              </a:gs>
              <a:gs pos="62000">
                <a:schemeClr val="bg1">
                  <a:alpha val="45034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2" name="Graphic 3">
            <a:extLst>
              <a:ext uri="{FF2B5EF4-FFF2-40B4-BE49-F238E27FC236}">
                <a16:creationId xmlns:a16="http://schemas.microsoft.com/office/drawing/2014/main" id="{AE274A5D-A1C4-E611-F875-134A2521B97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11" name="Picture 10" descr="A close up of bubbles&#10;&#10;Description automatically generated">
            <a:extLst>
              <a:ext uri="{FF2B5EF4-FFF2-40B4-BE49-F238E27FC236}">
                <a16:creationId xmlns:a16="http://schemas.microsoft.com/office/drawing/2014/main" id="{63BDF86D-C392-3BF4-4A2B-DEE567C87E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 flipH="1">
            <a:off x="-1" y="-1"/>
            <a:ext cx="6079067" cy="5706533"/>
          </a:xfrm>
          <a:prstGeom prst="rect">
            <a:avLst/>
          </a:prstGeom>
          <a:solidFill>
            <a:schemeClr val="tx2"/>
          </a:solidFill>
          <a:effectLst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E7CAC06-5663-ECD2-5D51-E7887DCD4B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310725"/>
            <a:ext cx="5547469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343C589C-341B-F3E3-4581-AB55081589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5BA333B1-5B5D-7D16-22D5-C43F1AB5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55652E74-37B1-126D-DE48-60A6860372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346E333F-7AEF-B69F-AD36-DA00C08005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03209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and person in white coats and purple gloves holding a tube&#10;&#10;Description automatically generated">
            <a:extLst>
              <a:ext uri="{FF2B5EF4-FFF2-40B4-BE49-F238E27FC236}">
                <a16:creationId xmlns:a16="http://schemas.microsoft.com/office/drawing/2014/main" id="{DBACACA7-3E32-D5B1-1C77-94CD2B7006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6335" y="1150374"/>
            <a:ext cx="6115665" cy="570762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1C5458C-AA8C-9F5D-602B-3BA02BEDB51A}"/>
              </a:ext>
            </a:extLst>
          </p:cNvPr>
          <p:cNvSpPr/>
          <p:nvPr userDrawn="1"/>
        </p:nvSpPr>
        <p:spPr>
          <a:xfrm>
            <a:off x="6076335" y="4454013"/>
            <a:ext cx="6115665" cy="2403987"/>
          </a:xfrm>
          <a:prstGeom prst="rect">
            <a:avLst/>
          </a:prstGeom>
          <a:gradFill>
            <a:gsLst>
              <a:gs pos="41000">
                <a:schemeClr val="bg1">
                  <a:alpha val="0"/>
                </a:schemeClr>
              </a:gs>
              <a:gs pos="62000">
                <a:schemeClr val="bg1">
                  <a:alpha val="45034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3346E7-3C2E-B71E-E567-DECA79D9A7D4}"/>
              </a:ext>
            </a:extLst>
          </p:cNvPr>
          <p:cNvSpPr/>
          <p:nvPr userDrawn="1"/>
        </p:nvSpPr>
        <p:spPr>
          <a:xfrm>
            <a:off x="1" y="5266146"/>
            <a:ext cx="3776870" cy="1591854"/>
          </a:xfrm>
          <a:prstGeom prst="rect">
            <a:avLst/>
          </a:prstGeom>
          <a:gradFill>
            <a:gsLst>
              <a:gs pos="46000">
                <a:schemeClr val="tx2">
                  <a:alpha val="0"/>
                </a:schemeClr>
              </a:gs>
              <a:gs pos="61000">
                <a:schemeClr val="tx2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7" name="Graphic 3">
            <a:extLst>
              <a:ext uri="{FF2B5EF4-FFF2-40B4-BE49-F238E27FC236}">
                <a16:creationId xmlns:a16="http://schemas.microsoft.com/office/drawing/2014/main" id="{3FF1A220-C9B7-B036-1CB7-38F868736E25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13" name="Picture 12" descr="A close up of bubbles&#10;&#10;Description automatically generated">
            <a:extLst>
              <a:ext uri="{FF2B5EF4-FFF2-40B4-BE49-F238E27FC236}">
                <a16:creationId xmlns:a16="http://schemas.microsoft.com/office/drawing/2014/main" id="{001A0F18-1B44-2224-5DC0-762D80EC64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 flipH="1">
            <a:off x="0" y="0"/>
            <a:ext cx="6079067" cy="5706533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D4CE04A4-7779-1B4A-FE58-082295C238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310725"/>
            <a:ext cx="5547469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0" name="Text Placeholder 31">
            <a:extLst>
              <a:ext uri="{FF2B5EF4-FFF2-40B4-BE49-F238E27FC236}">
                <a16:creationId xmlns:a16="http://schemas.microsoft.com/office/drawing/2014/main" id="{0E87FADA-C997-37FD-FC53-BEBEC5E7EF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9EECFC75-3E40-A028-27BA-82F48C7BA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DD7400A2-4DB1-E805-C630-4A0212B9BF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65101B94-7F7C-9496-9BCD-97F3E65A5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90261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4D1E054-94FC-C450-9C53-35CEF32EC5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7900" y="1181100"/>
            <a:ext cx="6134100" cy="56769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C23346E7-3C2E-B71E-E567-DECA79D9A7D4}"/>
              </a:ext>
            </a:extLst>
          </p:cNvPr>
          <p:cNvSpPr/>
          <p:nvPr userDrawn="1"/>
        </p:nvSpPr>
        <p:spPr>
          <a:xfrm>
            <a:off x="1" y="5266146"/>
            <a:ext cx="3776870" cy="1591854"/>
          </a:xfrm>
          <a:prstGeom prst="rect">
            <a:avLst/>
          </a:prstGeom>
          <a:gradFill>
            <a:gsLst>
              <a:gs pos="46000">
                <a:schemeClr val="tx2">
                  <a:alpha val="0"/>
                </a:schemeClr>
              </a:gs>
              <a:gs pos="61000">
                <a:schemeClr val="tx2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7" name="Graphic 3">
            <a:extLst>
              <a:ext uri="{FF2B5EF4-FFF2-40B4-BE49-F238E27FC236}">
                <a16:creationId xmlns:a16="http://schemas.microsoft.com/office/drawing/2014/main" id="{3FF1A220-C9B7-B036-1CB7-38F868736E25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13" name="Picture 12" descr="A close up of bubbles&#10;&#10;Description automatically generated">
            <a:extLst>
              <a:ext uri="{FF2B5EF4-FFF2-40B4-BE49-F238E27FC236}">
                <a16:creationId xmlns:a16="http://schemas.microsoft.com/office/drawing/2014/main" id="{2D217FFA-3B42-E4DF-8064-5DC3C752C9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 flipH="1">
            <a:off x="-2" y="-1"/>
            <a:ext cx="6065521" cy="5706533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EE74B387-42B1-4B59-2A01-96E165B1A1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310725"/>
            <a:ext cx="5547469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0" name="Text Placeholder 31">
            <a:extLst>
              <a:ext uri="{FF2B5EF4-FFF2-40B4-BE49-F238E27FC236}">
                <a16:creationId xmlns:a16="http://schemas.microsoft.com/office/drawing/2014/main" id="{B593BFEA-AB51-9128-7100-C11A8D18E7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C589FD9F-01FD-C6BC-E05D-E18E49CB37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21E6870E-E7F8-3DC0-667F-7150F765AF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7887B282-7738-785B-0177-4F5F0C6BA7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96305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utom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9C03EFA-CD7B-5ABD-B815-EACD46D7FA0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79067" y="1117601"/>
            <a:ext cx="6112932" cy="5740400"/>
          </a:xfrm>
          <a:solidFill>
            <a:schemeClr val="accent1"/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2" name="Graphic 3">
            <a:extLst>
              <a:ext uri="{FF2B5EF4-FFF2-40B4-BE49-F238E27FC236}">
                <a16:creationId xmlns:a16="http://schemas.microsoft.com/office/drawing/2014/main" id="{AE274A5D-A1C4-E611-F875-134A2521B97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86F0E-4946-5FD8-9177-B8AD29110C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6079066" cy="5689600"/>
          </a:xfrm>
          <a:solidFill>
            <a:schemeClr val="tx2"/>
          </a:solidFill>
          <a:effectLst/>
        </p:spPr>
        <p:txBody>
          <a:bodyPr vert="horz" wrap="square" lIns="274320" tIns="1280160" rIns="0" bIns="2743200" rtlCol="0" anchor="b">
            <a:noAutofit/>
          </a:bodyPr>
          <a:lstStyle>
            <a:lvl1pPr>
              <a:defRPr lang="en-GB" sz="6000" b="1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80000"/>
              </a:lnSpc>
            </a:pPr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43BD5E2C-87DA-A9C2-4A0F-26A1A738E4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BCD7DE46-09C2-FCFA-50A8-F86B9E19CF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30" name="Text Placeholder 31">
            <a:extLst>
              <a:ext uri="{FF2B5EF4-FFF2-40B4-BE49-F238E27FC236}">
                <a16:creationId xmlns:a16="http://schemas.microsoft.com/office/drawing/2014/main" id="{4D9B043D-A6E5-6E99-D946-49D45C2D8B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31" name="Text Placeholder 31">
            <a:extLst>
              <a:ext uri="{FF2B5EF4-FFF2-40B4-BE49-F238E27FC236}">
                <a16:creationId xmlns:a16="http://schemas.microsoft.com/office/drawing/2014/main" id="{B28C959D-1EFA-4A5D-AB50-2C274BCA8D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93066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utom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EF6DA855-5F41-FA2E-487B-EF17888493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" y="0"/>
            <a:ext cx="6070598" cy="5357811"/>
          </a:xfrm>
          <a:solidFill>
            <a:srgbClr val="E8E6E3"/>
          </a:solidFill>
          <a:effectLst/>
        </p:spPr>
        <p:txBody>
          <a:bodyPr vert="horz" wrap="square" lIns="274320" tIns="1280160" rIns="0" bIns="2743200" rtlCol="0" anchor="b">
            <a:noAutofit/>
          </a:bodyPr>
          <a:lstStyle>
            <a:lvl1pPr>
              <a:defRPr lang="en-GB" sz="6000" b="1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ct val="80000"/>
              </a:lnSpc>
            </a:pPr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2" name="Graphic 3">
            <a:extLst>
              <a:ext uri="{FF2B5EF4-FFF2-40B4-BE49-F238E27FC236}">
                <a16:creationId xmlns:a16="http://schemas.microsoft.com/office/drawing/2014/main" id="{AE274A5D-A1C4-E611-F875-134A2521B97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FF0000"/>
              </a:solidFill>
            </a:endParaRP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00331E63-C2FC-EF60-4A5E-1D1D4040A2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79067" y="1117601"/>
            <a:ext cx="6112932" cy="5740400"/>
          </a:xfrm>
          <a:solidFill>
            <a:schemeClr val="accent1"/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616F9EFF-855E-4327-EADF-5DBB427FE4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056466"/>
            <a:ext cx="554746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B1AB4D97-F323-C444-3BE5-D9AC8C4E80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3987030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C6BFD23C-5D1B-94F0-1378-0F37BBB710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549" y="6117619"/>
            <a:ext cx="3764795" cy="511781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507BBEAC-F820-54E4-6F49-8DF4AD9D86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67549" y="5406424"/>
            <a:ext cx="3764795" cy="676656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0807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14815-4091-68A3-E757-BBBCFE258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Content slide-bulle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8A1EB-51B0-F1BD-E581-C715DE73B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17FD4-4140-CD43-8431-8172E19E55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D914B08B-E3EC-5B6C-52D7-394475A4A1DA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726C4AD-8F81-6EAE-E2A0-4C2A2EAC376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D1CE92-80F6-BCB5-D5A8-3DC9872407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86" y="1682750"/>
            <a:ext cx="11590552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6404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Hero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walking in a hallway&#10;&#10;Description automatically generated">
            <a:extLst>
              <a:ext uri="{FF2B5EF4-FFF2-40B4-BE49-F238E27FC236}">
                <a16:creationId xmlns:a16="http://schemas.microsoft.com/office/drawing/2014/main" id="{81A78902-DED1-3EC4-365A-090C25F4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900"/>
          <a:stretch/>
        </p:blipFill>
        <p:spPr>
          <a:xfrm>
            <a:off x="1959709" y="0"/>
            <a:ext cx="10287000" cy="6858000"/>
          </a:xfrm>
          <a:prstGeom prst="rect">
            <a:avLst/>
          </a:prstGeom>
        </p:spPr>
      </p:pic>
      <p:sp>
        <p:nvSpPr>
          <p:cNvPr id="11" name="Graphic 34">
            <a:extLst>
              <a:ext uri="{FF2B5EF4-FFF2-40B4-BE49-F238E27FC236}">
                <a16:creationId xmlns:a16="http://schemas.microsoft.com/office/drawing/2014/main" id="{C888B740-5110-D8BD-1C2B-0B73C25CCAB0}"/>
              </a:ext>
            </a:extLst>
          </p:cNvPr>
          <p:cNvSpPr/>
          <p:nvPr userDrawn="1"/>
        </p:nvSpPr>
        <p:spPr>
          <a:xfrm flipH="1" flipV="1">
            <a:off x="-1" y="-1"/>
            <a:ext cx="8490352" cy="6877496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Graphic 3">
            <a:extLst>
              <a:ext uri="{FF2B5EF4-FFF2-40B4-BE49-F238E27FC236}">
                <a16:creationId xmlns:a16="http://schemas.microsoft.com/office/drawing/2014/main" id="{9D2A3C72-F208-B84B-020F-0F9A6B7DE8E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rgbClr val="EB1700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E84C0FE5-3BB8-8244-FB33-FA32E365D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257790"/>
            <a:ext cx="7837978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82" name="Text Placeholder 31">
            <a:extLst>
              <a:ext uri="{FF2B5EF4-FFF2-40B4-BE49-F238E27FC236}">
                <a16:creationId xmlns:a16="http://schemas.microsoft.com/office/drawing/2014/main" id="{12AE77C1-822B-2B9C-3017-D5169EC8D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343528"/>
            <a:ext cx="7837978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83" name="Text Placeholder 31">
            <a:extLst>
              <a:ext uri="{FF2B5EF4-FFF2-40B4-BE49-F238E27FC236}">
                <a16:creationId xmlns:a16="http://schemas.microsoft.com/office/drawing/2014/main" id="{B27161B7-A623-1AEC-46DA-E3687B8AB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9115" y="6328483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825B7CA6-B03D-AA14-6E0A-9573620054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549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85" name="Text Placeholder 31">
            <a:extLst>
              <a:ext uri="{FF2B5EF4-FFF2-40B4-BE49-F238E27FC236}">
                <a16:creationId xmlns:a16="http://schemas.microsoft.com/office/drawing/2014/main" id="{CCEE7283-F3C5-2A41-A0DE-B18F9DE86D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549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27895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Hero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CFCF2D8-A5EA-BCB1-D05E-B0458E2F755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90351" y="-2"/>
            <a:ext cx="3701649" cy="6877496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9" name="Graphic 34">
            <a:extLst>
              <a:ext uri="{FF2B5EF4-FFF2-40B4-BE49-F238E27FC236}">
                <a16:creationId xmlns:a16="http://schemas.microsoft.com/office/drawing/2014/main" id="{FD5D587C-04C0-7292-FC93-C5B60A49EEE2}"/>
              </a:ext>
            </a:extLst>
          </p:cNvPr>
          <p:cNvSpPr/>
          <p:nvPr userDrawn="1"/>
        </p:nvSpPr>
        <p:spPr>
          <a:xfrm flipH="1" flipV="1">
            <a:off x="-1" y="-1"/>
            <a:ext cx="8490352" cy="6877496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Graphic 3">
            <a:extLst>
              <a:ext uri="{FF2B5EF4-FFF2-40B4-BE49-F238E27FC236}">
                <a16:creationId xmlns:a16="http://schemas.microsoft.com/office/drawing/2014/main" id="{9D2A3C72-F208-B84B-020F-0F9A6B7DE8E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rgbClr val="EB1700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0" name="Text Placeholder 31">
            <a:extLst>
              <a:ext uri="{FF2B5EF4-FFF2-40B4-BE49-F238E27FC236}">
                <a16:creationId xmlns:a16="http://schemas.microsoft.com/office/drawing/2014/main" id="{AC17B071-AD43-DD81-F605-A7F0427145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9115" y="6328483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AAEB92-7BB7-7347-8768-7D574622D2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257790"/>
            <a:ext cx="7837978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BEDAEF96-F258-A8C1-3622-81610D574A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343528"/>
            <a:ext cx="7837978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3621C37-01A6-8652-9115-D60325D96E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549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535D5AE8-CBB3-29B0-D8BE-D503D5B341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549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13150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Hero2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78A1DCC0-F884-F2BF-23B7-7E6E5D0E18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1943"/>
          <a:stretch/>
        </p:blipFill>
        <p:spPr>
          <a:xfrm flipH="1">
            <a:off x="6400800" y="0"/>
            <a:ext cx="5791200" cy="6858000"/>
          </a:xfrm>
          <a:prstGeom prst="rect">
            <a:avLst/>
          </a:prstGeom>
        </p:spPr>
      </p:pic>
      <p:sp>
        <p:nvSpPr>
          <p:cNvPr id="46" name="Graphic 34">
            <a:extLst>
              <a:ext uri="{FF2B5EF4-FFF2-40B4-BE49-F238E27FC236}">
                <a16:creationId xmlns:a16="http://schemas.microsoft.com/office/drawing/2014/main" id="{7C4A81B7-E4B1-5C3D-8D22-9ABF79C5F466}"/>
              </a:ext>
            </a:extLst>
          </p:cNvPr>
          <p:cNvSpPr/>
          <p:nvPr userDrawn="1"/>
        </p:nvSpPr>
        <p:spPr>
          <a:xfrm flipH="1" flipV="1">
            <a:off x="-1" y="-1"/>
            <a:ext cx="8490352" cy="6877496"/>
          </a:xfrm>
          <a:prstGeom prst="rect">
            <a:avLst/>
          </a:pr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Graphic 3">
            <a:extLst>
              <a:ext uri="{FF2B5EF4-FFF2-40B4-BE49-F238E27FC236}">
                <a16:creationId xmlns:a16="http://schemas.microsoft.com/office/drawing/2014/main" id="{9D2A3C72-F208-B84B-020F-0F9A6B7DE8E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36FC56E-D039-165A-C9AE-2BBD147D1F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9115" y="6328483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F587C0-C3EE-9F0A-F078-7A3D869AD5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257790"/>
            <a:ext cx="7837978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8574B13D-204D-6BFE-4CBD-B33492FFDB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343528"/>
            <a:ext cx="7837978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04465016-D517-FC3A-ADF1-5969980E89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549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46C58AF1-302F-329C-6F23-B5FCBE050E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549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19083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Hero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laughing while writing on a glass wall&#10;&#10;Description automatically generated">
            <a:extLst>
              <a:ext uri="{FF2B5EF4-FFF2-40B4-BE49-F238E27FC236}">
                <a16:creationId xmlns:a16="http://schemas.microsoft.com/office/drawing/2014/main" id="{13E0C942-7F01-0D52-716F-2907743BC8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9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755"/>
          <a:stretch/>
        </p:blipFill>
        <p:spPr>
          <a:xfrm>
            <a:off x="2013770" y="0"/>
            <a:ext cx="10178878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4" name="Graphic 34">
            <a:extLst>
              <a:ext uri="{FF2B5EF4-FFF2-40B4-BE49-F238E27FC236}">
                <a16:creationId xmlns:a16="http://schemas.microsoft.com/office/drawing/2014/main" id="{717E4AC8-9FAD-D162-C36D-172EEF8E7F08}"/>
              </a:ext>
            </a:extLst>
          </p:cNvPr>
          <p:cNvSpPr/>
          <p:nvPr userDrawn="1"/>
        </p:nvSpPr>
        <p:spPr>
          <a:xfrm flipH="1" flipV="1">
            <a:off x="-1" y="-1"/>
            <a:ext cx="8490352" cy="6877496"/>
          </a:xfrm>
          <a:prstGeom prst="rect">
            <a:avLst/>
          </a:pr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Graphic 3">
            <a:extLst>
              <a:ext uri="{FF2B5EF4-FFF2-40B4-BE49-F238E27FC236}">
                <a16:creationId xmlns:a16="http://schemas.microsoft.com/office/drawing/2014/main" id="{9D2A3C72-F208-B84B-020F-0F9A6B7DE8E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0" name="Text Placeholder 31">
            <a:extLst>
              <a:ext uri="{FF2B5EF4-FFF2-40B4-BE49-F238E27FC236}">
                <a16:creationId xmlns:a16="http://schemas.microsoft.com/office/drawing/2014/main" id="{817512DF-7DB5-9BCE-4119-AE1D559125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9115" y="6328483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AC2BD-813E-FE79-B983-CC8A7AE66A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257790"/>
            <a:ext cx="7837978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EA14D70A-B809-B5A4-7FB1-90025A69E2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343528"/>
            <a:ext cx="7837978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4B54E07F-4303-65DA-4177-16C8B41E6B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549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9407BF26-5569-58F6-47A3-D42599C67A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549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21200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Hero2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raphic 34">
            <a:extLst>
              <a:ext uri="{FF2B5EF4-FFF2-40B4-BE49-F238E27FC236}">
                <a16:creationId xmlns:a16="http://schemas.microsoft.com/office/drawing/2014/main" id="{7C4A81B7-E4B1-5C3D-8D22-9ABF79C5F466}"/>
              </a:ext>
            </a:extLst>
          </p:cNvPr>
          <p:cNvSpPr/>
          <p:nvPr userDrawn="1"/>
        </p:nvSpPr>
        <p:spPr>
          <a:xfrm flipH="1" flipV="1">
            <a:off x="-1" y="-1"/>
            <a:ext cx="8490352" cy="6877496"/>
          </a:xfrm>
          <a:prstGeom prst="rect">
            <a:avLst/>
          </a:pr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Graphic 3">
            <a:extLst>
              <a:ext uri="{FF2B5EF4-FFF2-40B4-BE49-F238E27FC236}">
                <a16:creationId xmlns:a16="http://schemas.microsoft.com/office/drawing/2014/main" id="{9D2A3C72-F208-B84B-020F-0F9A6B7DE8E7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36FC56E-D039-165A-C9AE-2BBD147D1F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9115" y="6328483"/>
            <a:ext cx="2572721" cy="272627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F587C0-C3EE-9F0A-F078-7A3D869AD5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3858" y="1257790"/>
            <a:ext cx="7837978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8574B13D-204D-6BFE-4CBD-B33492FFDB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3858" y="3343528"/>
            <a:ext cx="7837978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04465016-D517-FC3A-ADF1-5969980E89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549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46C58AF1-302F-329C-6F23-B5FCBE050E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549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9055CF61-30D1-FF1D-CA5F-8BB9352E7F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90351" y="-2"/>
            <a:ext cx="3701649" cy="6877496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0295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holding a computer and pointing at something&#10;&#10;Description automatically generated">
            <a:extLst>
              <a:ext uri="{FF2B5EF4-FFF2-40B4-BE49-F238E27FC236}">
                <a16:creationId xmlns:a16="http://schemas.microsoft.com/office/drawing/2014/main" id="{7622BD09-EE17-2F11-DA47-CE3025191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4705"/>
            <a:ext cx="4023360" cy="583809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C9600DF-8676-1DF4-75D4-CA27877845BD}"/>
              </a:ext>
            </a:extLst>
          </p:cNvPr>
          <p:cNvSpPr/>
          <p:nvPr userDrawn="1"/>
        </p:nvSpPr>
        <p:spPr>
          <a:xfrm>
            <a:off x="1" y="5803391"/>
            <a:ext cx="4023360" cy="10546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B9AF48-637F-9028-E031-30CD6D637C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4022" y="1257790"/>
            <a:ext cx="7460026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83404EB1-A6EC-3C24-405E-14B104E5B2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4022" y="3343528"/>
            <a:ext cx="7460026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C965A2F6-6D36-1AFF-C6E6-1EAFAA670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3713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CEA27129-2FF2-098C-00F6-02AB594C79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3713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20E8A848-985B-F8C7-7E08-0E8E8A74BC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713" y="6328483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296297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C9600DF-8676-1DF4-75D4-CA27877845BD}"/>
              </a:ext>
            </a:extLst>
          </p:cNvPr>
          <p:cNvSpPr/>
          <p:nvPr userDrawn="1"/>
        </p:nvSpPr>
        <p:spPr>
          <a:xfrm>
            <a:off x="1" y="5803391"/>
            <a:ext cx="4023359" cy="105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B089F8-024F-E419-9CA6-1994C9DAD7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4705"/>
            <a:ext cx="4023359" cy="58380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0CD81A-58A0-6331-97EA-EA46009F92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4022" y="1257790"/>
            <a:ext cx="7460026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827EEDCA-0D83-CB2D-D4BE-899746E796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4022" y="3343528"/>
            <a:ext cx="7460026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B3B1D196-6EE2-9223-0877-D2E53A45DA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3713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7671CEE3-F16F-2F8F-639C-52F8E798DF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3713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14D2D570-479F-9CC3-2E53-A33742B4C3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713" y="6328483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608797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C9600DF-8676-1DF4-75D4-CA27877845BD}"/>
              </a:ext>
            </a:extLst>
          </p:cNvPr>
          <p:cNvSpPr/>
          <p:nvPr userDrawn="1"/>
        </p:nvSpPr>
        <p:spPr>
          <a:xfrm>
            <a:off x="1" y="5803391"/>
            <a:ext cx="4023360" cy="10546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bg1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B9AF48-637F-9028-E031-30CD6D637C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4022" y="1257790"/>
            <a:ext cx="7460026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83404EB1-A6EC-3C24-405E-14B104E5B2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4022" y="3343528"/>
            <a:ext cx="7460026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C965A2F6-6D36-1AFF-C6E6-1EAFAA670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3713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CEA27129-2FF2-098C-00F6-02AB594C79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3713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20E8A848-985B-F8C7-7E08-0E8E8A74BC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713" y="6328483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B5DE80C-7DFC-65B1-8573-FA02513D618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-2"/>
            <a:ext cx="4023359" cy="5803393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128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B35507B0-8DF6-9AA3-B5AD-C689144252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-2"/>
            <a:ext cx="4023358" cy="5803393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9600DF-8676-1DF4-75D4-CA27877845BD}"/>
              </a:ext>
            </a:extLst>
          </p:cNvPr>
          <p:cNvSpPr/>
          <p:nvPr userDrawn="1"/>
        </p:nvSpPr>
        <p:spPr>
          <a:xfrm>
            <a:off x="-1" y="5803391"/>
            <a:ext cx="4023359" cy="105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CD81A-58A0-6331-97EA-EA46009F92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4022" y="1257790"/>
            <a:ext cx="7460026" cy="2009846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8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827EEDCA-0D83-CB2D-D4BE-899746E796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4022" y="3343528"/>
            <a:ext cx="7460026" cy="9406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B3B1D196-6EE2-9223-0877-D2E53A45DA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3713" y="4900361"/>
            <a:ext cx="3764795" cy="51178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br>
              <a:rPr lang="en-US" noProof="0"/>
            </a:br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7671CEE3-F16F-2F8F-639C-52F8E798DF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3713" y="4493962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14D2D570-479F-9CC3-2E53-A33742B4C3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713" y="6328483"/>
            <a:ext cx="2572721" cy="272627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208993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A9B2183-ECFD-70D0-F5B2-55ADA29F19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099"/>
          <a:stretch/>
        </p:blipFill>
        <p:spPr>
          <a:xfrm>
            <a:off x="0" y="2522"/>
            <a:ext cx="12195722" cy="6855478"/>
          </a:xfrm>
          <a:prstGeom prst="rect">
            <a:avLst/>
          </a:prstGeom>
        </p:spPr>
      </p:pic>
      <p:sp>
        <p:nvSpPr>
          <p:cNvPr id="14" name="Text Placeholder 31">
            <a:extLst>
              <a:ext uri="{FF2B5EF4-FFF2-40B4-BE49-F238E27FC236}">
                <a16:creationId xmlns:a16="http://schemas.microsoft.com/office/drawing/2014/main" id="{026245ED-D708-1193-E35B-49E971B7B6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389433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ACA29A6-9F72-5660-A439-1C838BF330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2820478"/>
            <a:ext cx="6366934" cy="1230314"/>
          </a:xfrm>
        </p:spPr>
        <p:txBody>
          <a:bodyPr wrap="none" anchor="b">
            <a:noAutofit/>
          </a:bodyPr>
          <a:lstStyle>
            <a:lvl1pPr algn="l">
              <a:lnSpc>
                <a:spcPct val="75000"/>
              </a:lnSpc>
              <a:defRPr sz="8000" b="1" i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9937D633-175A-02FB-71AE-7B8CE3934A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32875" y="5815513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D860D5C5-A502-6877-357D-5679CDAA50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2875" y="5400934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3164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9D7CF9-FD4F-7038-488D-5F33A19B1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wo column slid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660FCF-82B5-3AA4-8087-3E00E1E55B0E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6C2CC6-A316-FC6C-A3ED-4F3AA34F5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86" y="1682750"/>
            <a:ext cx="5662777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74A907A-4DCC-4E34-18FB-CADCDB2021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297" y="1682750"/>
            <a:ext cx="5662777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279792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3C0F0F-F865-9B7C-5423-8532BDBDC5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4" name="Text Placeholder 31">
            <a:extLst>
              <a:ext uri="{FF2B5EF4-FFF2-40B4-BE49-F238E27FC236}">
                <a16:creationId xmlns:a16="http://schemas.microsoft.com/office/drawing/2014/main" id="{2786DE93-20F5-50D1-6666-CF1340310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3543515"/>
            <a:ext cx="3764795" cy="813645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  <a:p>
            <a:endParaRPr lang="en-US" noProof="0"/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E50FAE3A-A346-86D2-7B47-D8D09A5F4D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3128936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5D09E49A-B4BD-BA1E-D855-528EC542B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19868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52F37DF-B279-49B3-B79A-F67FBB59C8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112482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9375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F421F-0A8B-9E9B-92F4-BAC2F7E42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701" y="0"/>
            <a:ext cx="12166598" cy="6857999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B9982858-CD50-EB97-4866-F079A47A1791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2C25103-1EBA-F362-3ACE-DD40EACA2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32875" y="5774873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1D20C59F-287A-3B1B-2DD5-BA26635933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2875" y="5360294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87CF6FC0-E7D0-93FE-BA0C-A44C97F76D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389433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F56C941-7853-890E-483F-F249DA69B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282047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99110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4CFCD3-465F-AFBF-C8B7-862E3E4276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Graphic 3">
            <a:extLst>
              <a:ext uri="{FF2B5EF4-FFF2-40B4-BE49-F238E27FC236}">
                <a16:creationId xmlns:a16="http://schemas.microsoft.com/office/drawing/2014/main" id="{7CD5CFA6-ACC4-5858-45E7-DA9468DB6698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3C41F4A2-6867-D87C-8F80-9CB55D304D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3543515"/>
            <a:ext cx="3764795" cy="813645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6CDE80A1-3F87-ECEE-F4F9-2A48FE1784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3128936"/>
            <a:ext cx="3764795" cy="371860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09CA3CB-3603-07E8-76AE-509F5F86B2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198686"/>
            <a:ext cx="5499100" cy="908900"/>
          </a:xfr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4C82A89-DB2B-A162-98B3-B162367815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2100" y="1124828"/>
            <a:ext cx="6366934" cy="1230314"/>
          </a:xfrm>
        </p:spPr>
        <p:txBody>
          <a:bodyPr wrap="none" anchor="b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ts val="600"/>
              </a:spcBef>
              <a:spcAft>
                <a:spcPts val="600"/>
              </a:spcAft>
              <a:buNone/>
              <a:defRPr lang="en-GB" sz="8000" b="1" i="0" kern="1200" spc="-1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50259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group of people working in an office&#10;&#10;Description automatically generated">
            <a:extLst>
              <a:ext uri="{FF2B5EF4-FFF2-40B4-BE49-F238E27FC236}">
                <a16:creationId xmlns:a16="http://schemas.microsoft.com/office/drawing/2014/main" id="{704E6990-27E2-D329-C6AB-4E026A7546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4258" y="1"/>
            <a:ext cx="3985535" cy="232653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43FB735-82BE-1111-B3F2-439A0D9A9E6E}"/>
              </a:ext>
            </a:extLst>
          </p:cNvPr>
          <p:cNvSpPr/>
          <p:nvPr userDrawn="1"/>
        </p:nvSpPr>
        <p:spPr>
          <a:xfrm>
            <a:off x="1" y="-1"/>
            <a:ext cx="8204258" cy="2326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454F9DEA-0A91-9006-725E-9C1015C1A4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1100" y="2963990"/>
            <a:ext cx="6262099" cy="90890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presentation subtitle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8F6705F-495F-9E8D-DA53-70881D5DE8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0491" y="487225"/>
            <a:ext cx="7071811" cy="1569276"/>
          </a:xfrm>
        </p:spPr>
        <p:txBody>
          <a:bodyPr wrap="square" anchor="ctr">
            <a:spAutoFit/>
          </a:bodyPr>
          <a:lstStyle>
            <a:lvl1pPr algn="l">
              <a:lnSpc>
                <a:spcPct val="75000"/>
              </a:lnSpc>
              <a:defRPr sz="6600" b="1" i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4AB1BC-D972-78CF-F50F-3279242B96BF}"/>
              </a:ext>
            </a:extLst>
          </p:cNvPr>
          <p:cNvSpPr/>
          <p:nvPr userDrawn="1"/>
        </p:nvSpPr>
        <p:spPr>
          <a:xfrm>
            <a:off x="0" y="4563870"/>
            <a:ext cx="12191999" cy="2294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2" name="Graphic 3">
            <a:extLst>
              <a:ext uri="{FF2B5EF4-FFF2-40B4-BE49-F238E27FC236}">
                <a16:creationId xmlns:a16="http://schemas.microsoft.com/office/drawing/2014/main" id="{0FC78F2E-1EA0-6A5F-A8D4-76AFEDF9B025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25" name="Picture 24" descr="A group of people writing on sticky notes on a glass wall&#10;&#10;Description automatically generated">
            <a:extLst>
              <a:ext uri="{FF2B5EF4-FFF2-40B4-BE49-F238E27FC236}">
                <a16:creationId xmlns:a16="http://schemas.microsoft.com/office/drawing/2014/main" id="{AD1E2B35-EEE3-FD06-C3CB-BE9E56E56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26538"/>
            <a:ext cx="3357808" cy="2236315"/>
          </a:xfrm>
          <a:prstGeom prst="rect">
            <a:avLst/>
          </a:prstGeom>
        </p:spPr>
      </p:pic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EE1FB760-C159-F693-E72D-ABEEA00513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9075" y="5900979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E7610C96-6B4F-51CB-5142-9E71DF61C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075" y="5486400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979400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454F9DEA-0A91-9006-725E-9C1015C1A4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1100" y="2963990"/>
            <a:ext cx="6262099" cy="90890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presentation subtitle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872139-544A-6F9E-AFD6-349027AD9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26538"/>
            <a:ext cx="3357807" cy="22447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A49AF18-CBD0-BDFE-D02D-AD78EF4A105A}"/>
              </a:ext>
            </a:extLst>
          </p:cNvPr>
          <p:cNvSpPr/>
          <p:nvPr userDrawn="1"/>
        </p:nvSpPr>
        <p:spPr>
          <a:xfrm>
            <a:off x="0" y="1"/>
            <a:ext cx="8204258" cy="23339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DCE0B5-9D65-556F-2EF0-B1DD8E052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0491" y="487225"/>
            <a:ext cx="7071811" cy="1569276"/>
          </a:xfrm>
        </p:spPr>
        <p:txBody>
          <a:bodyPr wrap="square" anchor="ctr">
            <a:spAutoFit/>
          </a:bodyPr>
          <a:lstStyle>
            <a:lvl1pPr algn="l">
              <a:lnSpc>
                <a:spcPct val="75000"/>
              </a:lnSpc>
              <a:defRPr sz="6600" b="1" i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C91C4AF-8475-E888-8F3E-2DBBCD708B95}"/>
              </a:ext>
            </a:extLst>
          </p:cNvPr>
          <p:cNvSpPr txBox="1">
            <a:spLocks/>
          </p:cNvSpPr>
          <p:nvPr userDrawn="1"/>
        </p:nvSpPr>
        <p:spPr>
          <a:xfrm>
            <a:off x="7482303" y="5963679"/>
            <a:ext cx="4415367" cy="6279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None/>
              <a:defRPr sz="7200" b="1" i="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800" b="0">
                <a:solidFill>
                  <a:schemeClr val="tx1"/>
                </a:solidFill>
              </a:rPr>
              <a:t>Believe. Build. Belong.</a:t>
            </a:r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C1EBC5-0351-D541-D15C-F3D28C33FD5F}"/>
              </a:ext>
            </a:extLst>
          </p:cNvPr>
          <p:cNvSpPr/>
          <p:nvPr userDrawn="1"/>
        </p:nvSpPr>
        <p:spPr>
          <a:xfrm>
            <a:off x="0" y="4563870"/>
            <a:ext cx="12191999" cy="2294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Graphic 3">
            <a:extLst>
              <a:ext uri="{FF2B5EF4-FFF2-40B4-BE49-F238E27FC236}">
                <a16:creationId xmlns:a16="http://schemas.microsoft.com/office/drawing/2014/main" id="{0A52E80B-216E-C933-4C47-5340CBD8342C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35DE3DF4-374D-C15B-5A9F-E77C83C866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9075" y="5891955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00163000-AE74-6DDA-12FB-FCD290D834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075" y="5477376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35C1442-7B93-9C6C-5D44-EA63E64802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4258" y="1"/>
            <a:ext cx="3985709" cy="2333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6153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F43FB735-82BE-1111-B3F2-439A0D9A9E6E}"/>
              </a:ext>
            </a:extLst>
          </p:cNvPr>
          <p:cNvSpPr/>
          <p:nvPr userDrawn="1"/>
        </p:nvSpPr>
        <p:spPr>
          <a:xfrm>
            <a:off x="1" y="-1"/>
            <a:ext cx="8204258" cy="2326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454F9DEA-0A91-9006-725E-9C1015C1A4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1100" y="2963990"/>
            <a:ext cx="6262099" cy="90890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presentation subtitle text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5A9B11A-3748-92A9-13A5-246E65B738F5}"/>
              </a:ext>
            </a:extLst>
          </p:cNvPr>
          <p:cNvSpPr txBox="1">
            <a:spLocks/>
          </p:cNvSpPr>
          <p:nvPr userDrawn="1"/>
        </p:nvSpPr>
        <p:spPr>
          <a:xfrm>
            <a:off x="7482303" y="5972703"/>
            <a:ext cx="4415367" cy="6279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None/>
              <a:defRPr sz="7200" b="1" i="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800" b="0">
                <a:solidFill>
                  <a:schemeClr val="tx1"/>
                </a:solidFill>
              </a:rPr>
              <a:t>Believe. Build. Belong.</a:t>
            </a:r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4AB1BC-D972-78CF-F50F-3279242B96BF}"/>
              </a:ext>
            </a:extLst>
          </p:cNvPr>
          <p:cNvSpPr/>
          <p:nvPr userDrawn="1"/>
        </p:nvSpPr>
        <p:spPr>
          <a:xfrm>
            <a:off x="0" y="4563870"/>
            <a:ext cx="12191999" cy="2294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B9F0B3A1-72C2-4210-6C50-955078BE9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9075" y="5900979"/>
            <a:ext cx="3764795" cy="813645"/>
          </a:xfrm>
        </p:spPr>
        <p:txBody>
          <a:bodyPr anchor="t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aker Title</a:t>
            </a:r>
            <a:br>
              <a:rPr lang="en-US" noProof="0"/>
            </a:br>
            <a:r>
              <a:rPr lang="en-US" noProof="0"/>
              <a:t>Global Development, Function/Org</a:t>
            </a:r>
          </a:p>
          <a:p>
            <a:r>
              <a:rPr lang="en-US" noProof="0"/>
              <a:t>Date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A335F370-11BC-BCC2-A52E-FE434D9EF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075" y="5486400"/>
            <a:ext cx="3764795" cy="371860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irstname</a:t>
            </a:r>
            <a:r>
              <a:rPr lang="en-US" noProof="0"/>
              <a:t> </a:t>
            </a:r>
            <a:r>
              <a:rPr lang="en-US" noProof="0" err="1"/>
              <a:t>Lastname</a:t>
            </a:r>
            <a:r>
              <a:rPr lang="en-US" noProof="0"/>
              <a:t> </a:t>
            </a:r>
          </a:p>
        </p:txBody>
      </p:sp>
      <p:sp>
        <p:nvSpPr>
          <p:cNvPr id="22" name="Graphic 3">
            <a:extLst>
              <a:ext uri="{FF2B5EF4-FFF2-40B4-BE49-F238E27FC236}">
                <a16:creationId xmlns:a16="http://schemas.microsoft.com/office/drawing/2014/main" id="{0FC78F2E-1EA0-6A5F-A8D4-76AFEDF9B025}"/>
              </a:ext>
            </a:extLst>
          </p:cNvPr>
          <p:cNvSpPr/>
          <p:nvPr userDrawn="1"/>
        </p:nvSpPr>
        <p:spPr>
          <a:xfrm>
            <a:off x="294330" y="6157513"/>
            <a:ext cx="2132373" cy="406800"/>
          </a:xfrm>
          <a:custGeom>
            <a:avLst/>
            <a:gdLst>
              <a:gd name="connsiteX0" fmla="*/ 1397722 w 14842808"/>
              <a:gd name="connsiteY0" fmla="*/ 1202934 h 2831613"/>
              <a:gd name="connsiteX1" fmla="*/ 1182034 w 14842808"/>
              <a:gd name="connsiteY1" fmla="*/ 835550 h 2831613"/>
              <a:gd name="connsiteX2" fmla="*/ 1397722 w 14842808"/>
              <a:gd name="connsiteY2" fmla="*/ 468165 h 2831613"/>
              <a:gd name="connsiteX3" fmla="*/ 1613410 w 14842808"/>
              <a:gd name="connsiteY3" fmla="*/ 835550 h 2831613"/>
              <a:gd name="connsiteX4" fmla="*/ 1397722 w 14842808"/>
              <a:gd name="connsiteY4" fmla="*/ 1202934 h 2831613"/>
              <a:gd name="connsiteX5" fmla="*/ 1397722 w 14842808"/>
              <a:gd name="connsiteY5" fmla="*/ 369441 h 2831613"/>
              <a:gd name="connsiteX6" fmla="*/ 959388 w 14842808"/>
              <a:gd name="connsiteY6" fmla="*/ 835550 h 2831613"/>
              <a:gd name="connsiteX7" fmla="*/ 1397722 w 14842808"/>
              <a:gd name="connsiteY7" fmla="*/ 1301658 h 2831613"/>
              <a:gd name="connsiteX8" fmla="*/ 1836056 w 14842808"/>
              <a:gd name="connsiteY8" fmla="*/ 835550 h 2831613"/>
              <a:gd name="connsiteX9" fmla="*/ 1397722 w 14842808"/>
              <a:gd name="connsiteY9" fmla="*/ 369441 h 2831613"/>
              <a:gd name="connsiteX10" fmla="*/ 3357471 w 14842808"/>
              <a:gd name="connsiteY10" fmla="*/ 369441 h 2831613"/>
              <a:gd name="connsiteX11" fmla="*/ 3109571 w 14842808"/>
              <a:gd name="connsiteY11" fmla="*/ 500301 h 2831613"/>
              <a:gd name="connsiteX12" fmla="*/ 3098748 w 14842808"/>
              <a:gd name="connsiteY12" fmla="*/ 500301 h 2831613"/>
              <a:gd name="connsiteX13" fmla="*/ 3098748 w 14842808"/>
              <a:gd name="connsiteY13" fmla="*/ 387438 h 2831613"/>
              <a:gd name="connsiteX14" fmla="*/ 2886667 w 14842808"/>
              <a:gd name="connsiteY14" fmla="*/ 387438 h 2831613"/>
              <a:gd name="connsiteX15" fmla="*/ 2886667 w 14842808"/>
              <a:gd name="connsiteY15" fmla="*/ 1283661 h 2831613"/>
              <a:gd name="connsiteX16" fmla="*/ 3098748 w 14842808"/>
              <a:gd name="connsiteY16" fmla="*/ 1283661 h 2831613"/>
              <a:gd name="connsiteX17" fmla="*/ 3098748 w 14842808"/>
              <a:gd name="connsiteY17" fmla="*/ 704433 h 2831613"/>
              <a:gd name="connsiteX18" fmla="*/ 3276555 w 14842808"/>
              <a:gd name="connsiteY18" fmla="*/ 494645 h 2831613"/>
              <a:gd name="connsiteX19" fmla="*/ 3429367 w 14842808"/>
              <a:gd name="connsiteY19" fmla="*/ 670239 h 2831613"/>
              <a:gd name="connsiteX20" fmla="*/ 3429367 w 14842808"/>
              <a:gd name="connsiteY20" fmla="*/ 1283147 h 2831613"/>
              <a:gd name="connsiteX21" fmla="*/ 3641447 w 14842808"/>
              <a:gd name="connsiteY21" fmla="*/ 1283147 h 2831613"/>
              <a:gd name="connsiteX22" fmla="*/ 3641447 w 14842808"/>
              <a:gd name="connsiteY22" fmla="*/ 668697 h 2831613"/>
              <a:gd name="connsiteX23" fmla="*/ 3357471 w 14842808"/>
              <a:gd name="connsiteY23" fmla="*/ 369441 h 2831613"/>
              <a:gd name="connsiteX24" fmla="*/ 4122559 w 14842808"/>
              <a:gd name="connsiteY24" fmla="*/ 369441 h 2831613"/>
              <a:gd name="connsiteX25" fmla="*/ 3779312 w 14842808"/>
              <a:gd name="connsiteY25" fmla="*/ 627562 h 2831613"/>
              <a:gd name="connsiteX26" fmla="*/ 3996805 w 14842808"/>
              <a:gd name="connsiteY26" fmla="*/ 885683 h 2831613"/>
              <a:gd name="connsiteX27" fmla="*/ 4176416 w 14842808"/>
              <a:gd name="connsiteY27" fmla="*/ 930417 h 2831613"/>
              <a:gd name="connsiteX28" fmla="*/ 4314797 w 14842808"/>
              <a:gd name="connsiteY28" fmla="*/ 1063076 h 2831613"/>
              <a:gd name="connsiteX29" fmla="*/ 4136989 w 14842808"/>
              <a:gd name="connsiteY29" fmla="*/ 1206534 h 2831613"/>
              <a:gd name="connsiteX30" fmla="*/ 3932124 w 14842808"/>
              <a:gd name="connsiteY30" fmla="*/ 998546 h 2831613"/>
              <a:gd name="connsiteX31" fmla="*/ 3741690 w 14842808"/>
              <a:gd name="connsiteY31" fmla="*/ 1052278 h 2831613"/>
              <a:gd name="connsiteX32" fmla="*/ 4113539 w 14842808"/>
              <a:gd name="connsiteY32" fmla="*/ 1301401 h 2831613"/>
              <a:gd name="connsiteX33" fmla="*/ 4487193 w 14842808"/>
              <a:gd name="connsiteY33" fmla="*/ 1009344 h 2831613"/>
              <a:gd name="connsiteX34" fmla="*/ 4248313 w 14842808"/>
              <a:gd name="connsiteY34" fmla="*/ 740425 h 2831613"/>
              <a:gd name="connsiteX35" fmla="*/ 4075916 w 14842808"/>
              <a:gd name="connsiteY35" fmla="*/ 697491 h 2831613"/>
              <a:gd name="connsiteX36" fmla="*/ 3951966 w 14842808"/>
              <a:gd name="connsiteY36" fmla="*/ 579229 h 2831613"/>
              <a:gd name="connsiteX37" fmla="*/ 4104778 w 14842808"/>
              <a:gd name="connsiteY37" fmla="*/ 464566 h 2831613"/>
              <a:gd name="connsiteX38" fmla="*/ 4287997 w 14842808"/>
              <a:gd name="connsiteY38" fmla="*/ 636560 h 2831613"/>
              <a:gd name="connsiteX39" fmla="*/ 4467608 w 14842808"/>
              <a:gd name="connsiteY39" fmla="*/ 582828 h 2831613"/>
              <a:gd name="connsiteX40" fmla="*/ 4122559 w 14842808"/>
              <a:gd name="connsiteY40" fmla="*/ 369441 h 2831613"/>
              <a:gd name="connsiteX41" fmla="*/ 5013658 w 14842808"/>
              <a:gd name="connsiteY41" fmla="*/ 1202934 h 2831613"/>
              <a:gd name="connsiteX42" fmla="*/ 4797969 w 14842808"/>
              <a:gd name="connsiteY42" fmla="*/ 835550 h 2831613"/>
              <a:gd name="connsiteX43" fmla="*/ 5013658 w 14842808"/>
              <a:gd name="connsiteY43" fmla="*/ 468165 h 2831613"/>
              <a:gd name="connsiteX44" fmla="*/ 5229346 w 14842808"/>
              <a:gd name="connsiteY44" fmla="*/ 835550 h 2831613"/>
              <a:gd name="connsiteX45" fmla="*/ 5013658 w 14842808"/>
              <a:gd name="connsiteY45" fmla="*/ 1202934 h 2831613"/>
              <a:gd name="connsiteX46" fmla="*/ 5013658 w 14842808"/>
              <a:gd name="connsiteY46" fmla="*/ 369441 h 2831613"/>
              <a:gd name="connsiteX47" fmla="*/ 4575324 w 14842808"/>
              <a:gd name="connsiteY47" fmla="*/ 835550 h 2831613"/>
              <a:gd name="connsiteX48" fmla="*/ 5013658 w 14842808"/>
              <a:gd name="connsiteY48" fmla="*/ 1301658 h 2831613"/>
              <a:gd name="connsiteX49" fmla="*/ 5451992 w 14842808"/>
              <a:gd name="connsiteY49" fmla="*/ 835550 h 2831613"/>
              <a:gd name="connsiteX50" fmla="*/ 5013658 w 14842808"/>
              <a:gd name="connsiteY50" fmla="*/ 369441 h 2831613"/>
              <a:gd name="connsiteX51" fmla="*/ 6048292 w 14842808"/>
              <a:gd name="connsiteY51" fmla="*/ 369441 h 2831613"/>
              <a:gd name="connsiteX52" fmla="*/ 5800392 w 14842808"/>
              <a:gd name="connsiteY52" fmla="*/ 500301 h 2831613"/>
              <a:gd name="connsiteX53" fmla="*/ 5789569 w 14842808"/>
              <a:gd name="connsiteY53" fmla="*/ 500301 h 2831613"/>
              <a:gd name="connsiteX54" fmla="*/ 5789569 w 14842808"/>
              <a:gd name="connsiteY54" fmla="*/ 387438 h 2831613"/>
              <a:gd name="connsiteX55" fmla="*/ 5577488 w 14842808"/>
              <a:gd name="connsiteY55" fmla="*/ 387438 h 2831613"/>
              <a:gd name="connsiteX56" fmla="*/ 5577488 w 14842808"/>
              <a:gd name="connsiteY56" fmla="*/ 1283661 h 2831613"/>
              <a:gd name="connsiteX57" fmla="*/ 5789569 w 14842808"/>
              <a:gd name="connsiteY57" fmla="*/ 1283661 h 2831613"/>
              <a:gd name="connsiteX58" fmla="*/ 5789569 w 14842808"/>
              <a:gd name="connsiteY58" fmla="*/ 704433 h 2831613"/>
              <a:gd name="connsiteX59" fmla="*/ 5967376 w 14842808"/>
              <a:gd name="connsiteY59" fmla="*/ 494645 h 2831613"/>
              <a:gd name="connsiteX60" fmla="*/ 6120188 w 14842808"/>
              <a:gd name="connsiteY60" fmla="*/ 670239 h 2831613"/>
              <a:gd name="connsiteX61" fmla="*/ 6120188 w 14842808"/>
              <a:gd name="connsiteY61" fmla="*/ 1283147 h 2831613"/>
              <a:gd name="connsiteX62" fmla="*/ 6332269 w 14842808"/>
              <a:gd name="connsiteY62" fmla="*/ 1283147 h 2831613"/>
              <a:gd name="connsiteX63" fmla="*/ 6332269 w 14842808"/>
              <a:gd name="connsiteY63" fmla="*/ 668697 h 2831613"/>
              <a:gd name="connsiteX64" fmla="*/ 6048292 w 14842808"/>
              <a:gd name="connsiteY64" fmla="*/ 369441 h 2831613"/>
              <a:gd name="connsiteX65" fmla="*/ 9197289 w 14842808"/>
              <a:gd name="connsiteY65" fmla="*/ 1202934 h 2831613"/>
              <a:gd name="connsiteX66" fmla="*/ 8981601 w 14842808"/>
              <a:gd name="connsiteY66" fmla="*/ 835550 h 2831613"/>
              <a:gd name="connsiteX67" fmla="*/ 9197289 w 14842808"/>
              <a:gd name="connsiteY67" fmla="*/ 468165 h 2831613"/>
              <a:gd name="connsiteX68" fmla="*/ 9412978 w 14842808"/>
              <a:gd name="connsiteY68" fmla="*/ 835550 h 2831613"/>
              <a:gd name="connsiteX69" fmla="*/ 9197289 w 14842808"/>
              <a:gd name="connsiteY69" fmla="*/ 1202934 h 2831613"/>
              <a:gd name="connsiteX70" fmla="*/ 9197289 w 14842808"/>
              <a:gd name="connsiteY70" fmla="*/ 369441 h 2831613"/>
              <a:gd name="connsiteX71" fmla="*/ 8758955 w 14842808"/>
              <a:gd name="connsiteY71" fmla="*/ 835550 h 2831613"/>
              <a:gd name="connsiteX72" fmla="*/ 9197289 w 14842808"/>
              <a:gd name="connsiteY72" fmla="*/ 1301658 h 2831613"/>
              <a:gd name="connsiteX73" fmla="*/ 9635623 w 14842808"/>
              <a:gd name="connsiteY73" fmla="*/ 835550 h 2831613"/>
              <a:gd name="connsiteX74" fmla="*/ 9197289 w 14842808"/>
              <a:gd name="connsiteY74" fmla="*/ 369441 h 2831613"/>
              <a:gd name="connsiteX75" fmla="*/ 11157038 w 14842808"/>
              <a:gd name="connsiteY75" fmla="*/ 369441 h 2831613"/>
              <a:gd name="connsiteX76" fmla="*/ 10909138 w 14842808"/>
              <a:gd name="connsiteY76" fmla="*/ 500301 h 2831613"/>
              <a:gd name="connsiteX77" fmla="*/ 10898314 w 14842808"/>
              <a:gd name="connsiteY77" fmla="*/ 500301 h 2831613"/>
              <a:gd name="connsiteX78" fmla="*/ 10898314 w 14842808"/>
              <a:gd name="connsiteY78" fmla="*/ 387438 h 2831613"/>
              <a:gd name="connsiteX79" fmla="*/ 10686234 w 14842808"/>
              <a:gd name="connsiteY79" fmla="*/ 387438 h 2831613"/>
              <a:gd name="connsiteX80" fmla="*/ 10686234 w 14842808"/>
              <a:gd name="connsiteY80" fmla="*/ 1283661 h 2831613"/>
              <a:gd name="connsiteX81" fmla="*/ 10898314 w 14842808"/>
              <a:gd name="connsiteY81" fmla="*/ 1283661 h 2831613"/>
              <a:gd name="connsiteX82" fmla="*/ 10898314 w 14842808"/>
              <a:gd name="connsiteY82" fmla="*/ 704433 h 2831613"/>
              <a:gd name="connsiteX83" fmla="*/ 11076123 w 14842808"/>
              <a:gd name="connsiteY83" fmla="*/ 494645 h 2831613"/>
              <a:gd name="connsiteX84" fmla="*/ 11228934 w 14842808"/>
              <a:gd name="connsiteY84" fmla="*/ 670239 h 2831613"/>
              <a:gd name="connsiteX85" fmla="*/ 11228934 w 14842808"/>
              <a:gd name="connsiteY85" fmla="*/ 1283147 h 2831613"/>
              <a:gd name="connsiteX86" fmla="*/ 11441014 w 14842808"/>
              <a:gd name="connsiteY86" fmla="*/ 1283147 h 2831613"/>
              <a:gd name="connsiteX87" fmla="*/ 11441014 w 14842808"/>
              <a:gd name="connsiteY87" fmla="*/ 668697 h 2831613"/>
              <a:gd name="connsiteX88" fmla="*/ 11157038 w 14842808"/>
              <a:gd name="connsiteY88" fmla="*/ 369441 h 2831613"/>
              <a:gd name="connsiteX89" fmla="*/ 11922383 w 14842808"/>
              <a:gd name="connsiteY89" fmla="*/ 369441 h 2831613"/>
              <a:gd name="connsiteX90" fmla="*/ 11579137 w 14842808"/>
              <a:gd name="connsiteY90" fmla="*/ 627562 h 2831613"/>
              <a:gd name="connsiteX91" fmla="*/ 11796630 w 14842808"/>
              <a:gd name="connsiteY91" fmla="*/ 885683 h 2831613"/>
              <a:gd name="connsiteX92" fmla="*/ 11976241 w 14842808"/>
              <a:gd name="connsiteY92" fmla="*/ 930417 h 2831613"/>
              <a:gd name="connsiteX93" fmla="*/ 12114621 w 14842808"/>
              <a:gd name="connsiteY93" fmla="*/ 1063076 h 2831613"/>
              <a:gd name="connsiteX94" fmla="*/ 11936814 w 14842808"/>
              <a:gd name="connsiteY94" fmla="*/ 1206534 h 2831613"/>
              <a:gd name="connsiteX95" fmla="*/ 11731949 w 14842808"/>
              <a:gd name="connsiteY95" fmla="*/ 998546 h 2831613"/>
              <a:gd name="connsiteX96" fmla="*/ 11541514 w 14842808"/>
              <a:gd name="connsiteY96" fmla="*/ 1052278 h 2831613"/>
              <a:gd name="connsiteX97" fmla="*/ 11913364 w 14842808"/>
              <a:gd name="connsiteY97" fmla="*/ 1301401 h 2831613"/>
              <a:gd name="connsiteX98" fmla="*/ 12287018 w 14842808"/>
              <a:gd name="connsiteY98" fmla="*/ 1009344 h 2831613"/>
              <a:gd name="connsiteX99" fmla="*/ 12048137 w 14842808"/>
              <a:gd name="connsiteY99" fmla="*/ 740425 h 2831613"/>
              <a:gd name="connsiteX100" fmla="*/ 11875741 w 14842808"/>
              <a:gd name="connsiteY100" fmla="*/ 697491 h 2831613"/>
              <a:gd name="connsiteX101" fmla="*/ 11751791 w 14842808"/>
              <a:gd name="connsiteY101" fmla="*/ 579229 h 2831613"/>
              <a:gd name="connsiteX102" fmla="*/ 11904603 w 14842808"/>
              <a:gd name="connsiteY102" fmla="*/ 464566 h 2831613"/>
              <a:gd name="connsiteX103" fmla="*/ 12087821 w 14842808"/>
              <a:gd name="connsiteY103" fmla="*/ 636560 h 2831613"/>
              <a:gd name="connsiteX104" fmla="*/ 12267433 w 14842808"/>
              <a:gd name="connsiteY104" fmla="*/ 582828 h 2831613"/>
              <a:gd name="connsiteX105" fmla="*/ 11922383 w 14842808"/>
              <a:gd name="connsiteY105" fmla="*/ 369441 h 2831613"/>
              <a:gd name="connsiteX106" fmla="*/ 12813224 w 14842808"/>
              <a:gd name="connsiteY106" fmla="*/ 1202934 h 2831613"/>
              <a:gd name="connsiteX107" fmla="*/ 12597536 w 14842808"/>
              <a:gd name="connsiteY107" fmla="*/ 835550 h 2831613"/>
              <a:gd name="connsiteX108" fmla="*/ 12813224 w 14842808"/>
              <a:gd name="connsiteY108" fmla="*/ 468165 h 2831613"/>
              <a:gd name="connsiteX109" fmla="*/ 13028913 w 14842808"/>
              <a:gd name="connsiteY109" fmla="*/ 835550 h 2831613"/>
              <a:gd name="connsiteX110" fmla="*/ 12813224 w 14842808"/>
              <a:gd name="connsiteY110" fmla="*/ 1202934 h 2831613"/>
              <a:gd name="connsiteX111" fmla="*/ 12813224 w 14842808"/>
              <a:gd name="connsiteY111" fmla="*/ 369441 h 2831613"/>
              <a:gd name="connsiteX112" fmla="*/ 12374891 w 14842808"/>
              <a:gd name="connsiteY112" fmla="*/ 835550 h 2831613"/>
              <a:gd name="connsiteX113" fmla="*/ 12813224 w 14842808"/>
              <a:gd name="connsiteY113" fmla="*/ 1301658 h 2831613"/>
              <a:gd name="connsiteX114" fmla="*/ 13251560 w 14842808"/>
              <a:gd name="connsiteY114" fmla="*/ 835550 h 2831613"/>
              <a:gd name="connsiteX115" fmla="*/ 12813224 w 14842808"/>
              <a:gd name="connsiteY115" fmla="*/ 369441 h 2831613"/>
              <a:gd name="connsiteX116" fmla="*/ 13847858 w 14842808"/>
              <a:gd name="connsiteY116" fmla="*/ 369441 h 2831613"/>
              <a:gd name="connsiteX117" fmla="*/ 13599958 w 14842808"/>
              <a:gd name="connsiteY117" fmla="*/ 500301 h 2831613"/>
              <a:gd name="connsiteX118" fmla="*/ 13589136 w 14842808"/>
              <a:gd name="connsiteY118" fmla="*/ 500301 h 2831613"/>
              <a:gd name="connsiteX119" fmla="*/ 13589136 w 14842808"/>
              <a:gd name="connsiteY119" fmla="*/ 387438 h 2831613"/>
              <a:gd name="connsiteX120" fmla="*/ 13377056 w 14842808"/>
              <a:gd name="connsiteY120" fmla="*/ 387438 h 2831613"/>
              <a:gd name="connsiteX121" fmla="*/ 13377056 w 14842808"/>
              <a:gd name="connsiteY121" fmla="*/ 1283661 h 2831613"/>
              <a:gd name="connsiteX122" fmla="*/ 13589136 w 14842808"/>
              <a:gd name="connsiteY122" fmla="*/ 1283661 h 2831613"/>
              <a:gd name="connsiteX123" fmla="*/ 13589136 w 14842808"/>
              <a:gd name="connsiteY123" fmla="*/ 704433 h 2831613"/>
              <a:gd name="connsiteX124" fmla="*/ 13766944 w 14842808"/>
              <a:gd name="connsiteY124" fmla="*/ 494645 h 2831613"/>
              <a:gd name="connsiteX125" fmla="*/ 13919755 w 14842808"/>
              <a:gd name="connsiteY125" fmla="*/ 670239 h 2831613"/>
              <a:gd name="connsiteX126" fmla="*/ 13919755 w 14842808"/>
              <a:gd name="connsiteY126" fmla="*/ 1283147 h 2831613"/>
              <a:gd name="connsiteX127" fmla="*/ 14131835 w 14842808"/>
              <a:gd name="connsiteY127" fmla="*/ 1283147 h 2831613"/>
              <a:gd name="connsiteX128" fmla="*/ 14131835 w 14842808"/>
              <a:gd name="connsiteY128" fmla="*/ 668697 h 2831613"/>
              <a:gd name="connsiteX129" fmla="*/ 13847858 w 14842808"/>
              <a:gd name="connsiteY129" fmla="*/ 369441 h 2831613"/>
              <a:gd name="connsiteX130" fmla="*/ 833634 w 14842808"/>
              <a:gd name="connsiteY130" fmla="*/ 28794 h 2831613"/>
              <a:gd name="connsiteX131" fmla="*/ 610730 w 14842808"/>
              <a:gd name="connsiteY131" fmla="*/ 28794 h 2831613"/>
              <a:gd name="connsiteX132" fmla="*/ 610730 w 14842808"/>
              <a:gd name="connsiteY132" fmla="*/ 955355 h 2831613"/>
              <a:gd name="connsiteX133" fmla="*/ 416688 w 14842808"/>
              <a:gd name="connsiteY133" fmla="*/ 1195479 h 2831613"/>
              <a:gd name="connsiteX134" fmla="*/ 222646 w 14842808"/>
              <a:gd name="connsiteY134" fmla="*/ 937358 h 2831613"/>
              <a:gd name="connsiteX135" fmla="*/ 222646 w 14842808"/>
              <a:gd name="connsiteY135" fmla="*/ 765363 h 2831613"/>
              <a:gd name="connsiteX136" fmla="*/ 0 w 14842808"/>
              <a:gd name="connsiteY136" fmla="*/ 821152 h 2831613"/>
              <a:gd name="connsiteX137" fmla="*/ 0 w 14842808"/>
              <a:gd name="connsiteY137" fmla="*/ 898280 h 2831613"/>
              <a:gd name="connsiteX138" fmla="*/ 416946 w 14842808"/>
              <a:gd name="connsiteY138" fmla="*/ 1312456 h 2831613"/>
              <a:gd name="connsiteX139" fmla="*/ 833634 w 14842808"/>
              <a:gd name="connsiteY139" fmla="*/ 898280 h 2831613"/>
              <a:gd name="connsiteX140" fmla="*/ 833634 w 14842808"/>
              <a:gd name="connsiteY140" fmla="*/ 28794 h 2831613"/>
              <a:gd name="connsiteX141" fmla="*/ 2173633 w 14842808"/>
              <a:gd name="connsiteY141" fmla="*/ 28794 h 2831613"/>
              <a:gd name="connsiteX142" fmla="*/ 1961552 w 14842808"/>
              <a:gd name="connsiteY142" fmla="*/ 28794 h 2831613"/>
              <a:gd name="connsiteX143" fmla="*/ 1961552 w 14842808"/>
              <a:gd name="connsiteY143" fmla="*/ 1283404 h 2831613"/>
              <a:gd name="connsiteX144" fmla="*/ 2173633 w 14842808"/>
              <a:gd name="connsiteY144" fmla="*/ 1283404 h 2831613"/>
              <a:gd name="connsiteX145" fmla="*/ 2173633 w 14842808"/>
              <a:gd name="connsiteY145" fmla="*/ 704433 h 2831613"/>
              <a:gd name="connsiteX146" fmla="*/ 2351441 w 14842808"/>
              <a:gd name="connsiteY146" fmla="*/ 494645 h 2831613"/>
              <a:gd name="connsiteX147" fmla="*/ 2504252 w 14842808"/>
              <a:gd name="connsiteY147" fmla="*/ 670239 h 2831613"/>
              <a:gd name="connsiteX148" fmla="*/ 2504252 w 14842808"/>
              <a:gd name="connsiteY148" fmla="*/ 1283147 h 2831613"/>
              <a:gd name="connsiteX149" fmla="*/ 2716075 w 14842808"/>
              <a:gd name="connsiteY149" fmla="*/ 1283147 h 2831613"/>
              <a:gd name="connsiteX150" fmla="*/ 2716075 w 14842808"/>
              <a:gd name="connsiteY150" fmla="*/ 668697 h 2831613"/>
              <a:gd name="connsiteX151" fmla="*/ 2432098 w 14842808"/>
              <a:gd name="connsiteY151" fmla="*/ 369441 h 2831613"/>
              <a:gd name="connsiteX152" fmla="*/ 2184198 w 14842808"/>
              <a:gd name="connsiteY152" fmla="*/ 500301 h 2831613"/>
              <a:gd name="connsiteX153" fmla="*/ 2173375 w 14842808"/>
              <a:gd name="connsiteY153" fmla="*/ 500301 h 2831613"/>
              <a:gd name="connsiteX154" fmla="*/ 2173375 w 14842808"/>
              <a:gd name="connsiteY154" fmla="*/ 28794 h 2831613"/>
              <a:gd name="connsiteX155" fmla="*/ 8633201 w 14842808"/>
              <a:gd name="connsiteY155" fmla="*/ 28794 h 2831613"/>
              <a:gd name="connsiteX156" fmla="*/ 8410555 w 14842808"/>
              <a:gd name="connsiteY156" fmla="*/ 28794 h 2831613"/>
              <a:gd name="connsiteX157" fmla="*/ 8410555 w 14842808"/>
              <a:gd name="connsiteY157" fmla="*/ 955355 h 2831613"/>
              <a:gd name="connsiteX158" fmla="*/ 8216513 w 14842808"/>
              <a:gd name="connsiteY158" fmla="*/ 1195479 h 2831613"/>
              <a:gd name="connsiteX159" fmla="*/ 8022471 w 14842808"/>
              <a:gd name="connsiteY159" fmla="*/ 937358 h 2831613"/>
              <a:gd name="connsiteX160" fmla="*/ 8022471 w 14842808"/>
              <a:gd name="connsiteY160" fmla="*/ 765363 h 2831613"/>
              <a:gd name="connsiteX161" fmla="*/ 7799825 w 14842808"/>
              <a:gd name="connsiteY161" fmla="*/ 820895 h 2831613"/>
              <a:gd name="connsiteX162" fmla="*/ 7799825 w 14842808"/>
              <a:gd name="connsiteY162" fmla="*/ 898023 h 2831613"/>
              <a:gd name="connsiteX163" fmla="*/ 8216771 w 14842808"/>
              <a:gd name="connsiteY163" fmla="*/ 1312199 h 2831613"/>
              <a:gd name="connsiteX164" fmla="*/ 8633459 w 14842808"/>
              <a:gd name="connsiteY164" fmla="*/ 898023 h 2831613"/>
              <a:gd name="connsiteX165" fmla="*/ 8633459 w 14842808"/>
              <a:gd name="connsiteY165" fmla="*/ 28794 h 2831613"/>
              <a:gd name="connsiteX166" fmla="*/ 9973200 w 14842808"/>
              <a:gd name="connsiteY166" fmla="*/ 28794 h 2831613"/>
              <a:gd name="connsiteX167" fmla="*/ 9761120 w 14842808"/>
              <a:gd name="connsiteY167" fmla="*/ 28794 h 2831613"/>
              <a:gd name="connsiteX168" fmla="*/ 9761120 w 14842808"/>
              <a:gd name="connsiteY168" fmla="*/ 1283404 h 2831613"/>
              <a:gd name="connsiteX169" fmla="*/ 9973200 w 14842808"/>
              <a:gd name="connsiteY169" fmla="*/ 1283404 h 2831613"/>
              <a:gd name="connsiteX170" fmla="*/ 9973200 w 14842808"/>
              <a:gd name="connsiteY170" fmla="*/ 704433 h 2831613"/>
              <a:gd name="connsiteX171" fmla="*/ 10151007 w 14842808"/>
              <a:gd name="connsiteY171" fmla="*/ 494645 h 2831613"/>
              <a:gd name="connsiteX172" fmla="*/ 10303819 w 14842808"/>
              <a:gd name="connsiteY172" fmla="*/ 670239 h 2831613"/>
              <a:gd name="connsiteX173" fmla="*/ 10303819 w 14842808"/>
              <a:gd name="connsiteY173" fmla="*/ 1283147 h 2831613"/>
              <a:gd name="connsiteX174" fmla="*/ 10515899 w 14842808"/>
              <a:gd name="connsiteY174" fmla="*/ 1283147 h 2831613"/>
              <a:gd name="connsiteX175" fmla="*/ 10515899 w 14842808"/>
              <a:gd name="connsiteY175" fmla="*/ 668697 h 2831613"/>
              <a:gd name="connsiteX176" fmla="*/ 10231923 w 14842808"/>
              <a:gd name="connsiteY176" fmla="*/ 369441 h 2831613"/>
              <a:gd name="connsiteX177" fmla="*/ 9984023 w 14842808"/>
              <a:gd name="connsiteY177" fmla="*/ 500301 h 2831613"/>
              <a:gd name="connsiteX178" fmla="*/ 9973200 w 14842808"/>
              <a:gd name="connsiteY178" fmla="*/ 500301 h 2831613"/>
              <a:gd name="connsiteX179" fmla="*/ 9973200 w 14842808"/>
              <a:gd name="connsiteY179" fmla="*/ 28794 h 2831613"/>
              <a:gd name="connsiteX180" fmla="*/ 7030872 w 14842808"/>
              <a:gd name="connsiteY180" fmla="*/ 1181339 h 2831613"/>
              <a:gd name="connsiteX181" fmla="*/ 6752307 w 14842808"/>
              <a:gd name="connsiteY181" fmla="*/ 892624 h 2831613"/>
              <a:gd name="connsiteX182" fmla="*/ 6861826 w 14842808"/>
              <a:gd name="connsiteY182" fmla="*/ 665097 h 2831613"/>
              <a:gd name="connsiteX183" fmla="*/ 7267949 w 14842808"/>
              <a:gd name="connsiteY183" fmla="*/ 1107810 h 2831613"/>
              <a:gd name="connsiteX184" fmla="*/ 7030872 w 14842808"/>
              <a:gd name="connsiteY184" fmla="*/ 1181339 h 2831613"/>
              <a:gd name="connsiteX185" fmla="*/ 7426171 w 14842808"/>
              <a:gd name="connsiteY185" fmla="*/ 960754 h 2831613"/>
              <a:gd name="connsiteX186" fmla="*/ 7074164 w 14842808"/>
              <a:gd name="connsiteY186" fmla="*/ 573573 h 2831613"/>
              <a:gd name="connsiteX187" fmla="*/ 7248364 w 14842808"/>
              <a:gd name="connsiteY187" fmla="*/ 539637 h 2831613"/>
              <a:gd name="connsiteX188" fmla="*/ 7483637 w 14842808"/>
              <a:gd name="connsiteY188" fmla="*/ 768963 h 2831613"/>
              <a:gd name="connsiteX189" fmla="*/ 7426171 w 14842808"/>
              <a:gd name="connsiteY189" fmla="*/ 960754 h 2831613"/>
              <a:gd name="connsiteX190" fmla="*/ 7025461 w 14842808"/>
              <a:gd name="connsiteY190" fmla="*/ 521640 h 2831613"/>
              <a:gd name="connsiteX191" fmla="*/ 6948153 w 14842808"/>
              <a:gd name="connsiteY191" fmla="*/ 435514 h 2831613"/>
              <a:gd name="connsiteX192" fmla="*/ 6860022 w 14842808"/>
              <a:gd name="connsiteY192" fmla="*/ 258121 h 2831613"/>
              <a:gd name="connsiteX193" fmla="*/ 7030614 w 14842808"/>
              <a:gd name="connsiteY193" fmla="*/ 95124 h 2831613"/>
              <a:gd name="connsiteX194" fmla="*/ 7199403 w 14842808"/>
              <a:gd name="connsiteY194" fmla="*/ 267119 h 2831613"/>
              <a:gd name="connsiteX195" fmla="*/ 7025461 w 14842808"/>
              <a:gd name="connsiteY195" fmla="*/ 521640 h 2831613"/>
              <a:gd name="connsiteX196" fmla="*/ 7036283 w 14842808"/>
              <a:gd name="connsiteY196" fmla="*/ 0 h 2831613"/>
              <a:gd name="connsiteX197" fmla="*/ 6666238 w 14842808"/>
              <a:gd name="connsiteY197" fmla="*/ 310053 h 2831613"/>
              <a:gd name="connsiteX198" fmla="*/ 6810030 w 14842808"/>
              <a:gd name="connsiteY198" fmla="*/ 609308 h 2831613"/>
              <a:gd name="connsiteX199" fmla="*/ 6811834 w 14842808"/>
              <a:gd name="connsiteY199" fmla="*/ 612908 h 2831613"/>
              <a:gd name="connsiteX200" fmla="*/ 6554914 w 14842808"/>
              <a:gd name="connsiteY200" fmla="*/ 973094 h 2831613"/>
              <a:gd name="connsiteX201" fmla="*/ 6915941 w 14842808"/>
              <a:gd name="connsiteY201" fmla="*/ 1311941 h 2831613"/>
              <a:gd name="connsiteX202" fmla="*/ 7322064 w 14842808"/>
              <a:gd name="connsiteY202" fmla="*/ 1166684 h 2831613"/>
              <a:gd name="connsiteX203" fmla="*/ 7429780 w 14842808"/>
              <a:gd name="connsiteY203" fmla="*/ 1283147 h 2831613"/>
              <a:gd name="connsiteX204" fmla="*/ 7711952 w 14842808"/>
              <a:gd name="connsiteY204" fmla="*/ 1283147 h 2831613"/>
              <a:gd name="connsiteX205" fmla="*/ 7711952 w 14842808"/>
              <a:gd name="connsiteY205" fmla="*/ 1274406 h 2831613"/>
              <a:gd name="connsiteX206" fmla="*/ 7482091 w 14842808"/>
              <a:gd name="connsiteY206" fmla="*/ 1021684 h 2831613"/>
              <a:gd name="connsiteX207" fmla="*/ 7634902 w 14842808"/>
              <a:gd name="connsiteY207" fmla="*/ 672039 h 2831613"/>
              <a:gd name="connsiteX208" fmla="*/ 7399629 w 14842808"/>
              <a:gd name="connsiteY208" fmla="*/ 444512 h 2831613"/>
              <a:gd name="connsiteX209" fmla="*/ 7183941 w 14842808"/>
              <a:gd name="connsiteY209" fmla="*/ 487447 h 2831613"/>
              <a:gd name="connsiteX210" fmla="*/ 7180333 w 14842808"/>
              <a:gd name="connsiteY210" fmla="*/ 480248 h 2831613"/>
              <a:gd name="connsiteX211" fmla="*/ 7374375 w 14842808"/>
              <a:gd name="connsiteY211" fmla="*/ 243723 h 2831613"/>
              <a:gd name="connsiteX212" fmla="*/ 7036283 w 14842808"/>
              <a:gd name="connsiteY212" fmla="*/ 0 h 2831613"/>
              <a:gd name="connsiteX213" fmla="*/ 3908932 w 14842808"/>
              <a:gd name="connsiteY213" fmla="*/ 1917394 h 2831613"/>
              <a:gd name="connsiteX214" fmla="*/ 3756120 w 14842808"/>
              <a:gd name="connsiteY214" fmla="*/ 1917394 h 2831613"/>
              <a:gd name="connsiteX215" fmla="*/ 3526259 w 14842808"/>
              <a:gd name="connsiteY215" fmla="*/ 2641622 h 2831613"/>
              <a:gd name="connsiteX216" fmla="*/ 3294594 w 14842808"/>
              <a:gd name="connsiteY216" fmla="*/ 1917394 h 2831613"/>
              <a:gd name="connsiteX217" fmla="*/ 3136371 w 14842808"/>
              <a:gd name="connsiteY217" fmla="*/ 1917394 h 2831613"/>
              <a:gd name="connsiteX218" fmla="*/ 3429109 w 14842808"/>
              <a:gd name="connsiteY218" fmla="*/ 2813617 h 2831613"/>
              <a:gd name="connsiteX219" fmla="*/ 3615936 w 14842808"/>
              <a:gd name="connsiteY219" fmla="*/ 2813617 h 2831613"/>
              <a:gd name="connsiteX220" fmla="*/ 3908932 w 14842808"/>
              <a:gd name="connsiteY220" fmla="*/ 1917394 h 2831613"/>
              <a:gd name="connsiteX221" fmla="*/ 5785961 w 14842808"/>
              <a:gd name="connsiteY221" fmla="*/ 1917394 h 2831613"/>
              <a:gd name="connsiteX222" fmla="*/ 5636757 w 14842808"/>
              <a:gd name="connsiteY222" fmla="*/ 1917394 h 2831613"/>
              <a:gd name="connsiteX223" fmla="*/ 5636757 w 14842808"/>
              <a:gd name="connsiteY223" fmla="*/ 2813617 h 2831613"/>
              <a:gd name="connsiteX224" fmla="*/ 5785961 w 14842808"/>
              <a:gd name="connsiteY224" fmla="*/ 2813617 h 2831613"/>
              <a:gd name="connsiteX225" fmla="*/ 5785961 w 14842808"/>
              <a:gd name="connsiteY225" fmla="*/ 1917394 h 2831613"/>
              <a:gd name="connsiteX226" fmla="*/ 6702056 w 14842808"/>
              <a:gd name="connsiteY226" fmla="*/ 1917394 h 2831613"/>
              <a:gd name="connsiteX227" fmla="*/ 6549245 w 14842808"/>
              <a:gd name="connsiteY227" fmla="*/ 1917394 h 2831613"/>
              <a:gd name="connsiteX228" fmla="*/ 6319384 w 14842808"/>
              <a:gd name="connsiteY228" fmla="*/ 2641622 h 2831613"/>
              <a:gd name="connsiteX229" fmla="*/ 6087719 w 14842808"/>
              <a:gd name="connsiteY229" fmla="*/ 1917394 h 2831613"/>
              <a:gd name="connsiteX230" fmla="*/ 5929754 w 14842808"/>
              <a:gd name="connsiteY230" fmla="*/ 1917394 h 2831613"/>
              <a:gd name="connsiteX231" fmla="*/ 6222492 w 14842808"/>
              <a:gd name="connsiteY231" fmla="*/ 2813617 h 2831613"/>
              <a:gd name="connsiteX232" fmla="*/ 6409319 w 14842808"/>
              <a:gd name="connsiteY232" fmla="*/ 2813617 h 2831613"/>
              <a:gd name="connsiteX233" fmla="*/ 6702056 w 14842808"/>
              <a:gd name="connsiteY233" fmla="*/ 1917394 h 2831613"/>
              <a:gd name="connsiteX234" fmla="*/ 11697676 w 14842808"/>
              <a:gd name="connsiteY234" fmla="*/ 1917394 h 2831613"/>
              <a:gd name="connsiteX235" fmla="*/ 11548472 w 14842808"/>
              <a:gd name="connsiteY235" fmla="*/ 1917394 h 2831613"/>
              <a:gd name="connsiteX236" fmla="*/ 11548472 w 14842808"/>
              <a:gd name="connsiteY236" fmla="*/ 2813617 h 2831613"/>
              <a:gd name="connsiteX237" fmla="*/ 11697676 w 14842808"/>
              <a:gd name="connsiteY237" fmla="*/ 2813617 h 2831613"/>
              <a:gd name="connsiteX238" fmla="*/ 11697676 w 14842808"/>
              <a:gd name="connsiteY238" fmla="*/ 1917394 h 2831613"/>
              <a:gd name="connsiteX239" fmla="*/ 12980209 w 14842808"/>
              <a:gd name="connsiteY239" fmla="*/ 1917394 h 2831613"/>
              <a:gd name="connsiteX240" fmla="*/ 12831005 w 14842808"/>
              <a:gd name="connsiteY240" fmla="*/ 1917394 h 2831613"/>
              <a:gd name="connsiteX241" fmla="*/ 12831005 w 14842808"/>
              <a:gd name="connsiteY241" fmla="*/ 2813617 h 2831613"/>
              <a:gd name="connsiteX242" fmla="*/ 12980209 w 14842808"/>
              <a:gd name="connsiteY242" fmla="*/ 2813617 h 2831613"/>
              <a:gd name="connsiteX243" fmla="*/ 12980209 w 14842808"/>
              <a:gd name="connsiteY243" fmla="*/ 1917394 h 2831613"/>
              <a:gd name="connsiteX244" fmla="*/ 853219 w 14842808"/>
              <a:gd name="connsiteY244" fmla="*/ 1899397 h 2831613"/>
              <a:gd name="connsiteX245" fmla="*/ 601711 w 14842808"/>
              <a:gd name="connsiteY245" fmla="*/ 2055452 h 2831613"/>
              <a:gd name="connsiteX246" fmla="*/ 601711 w 14842808"/>
              <a:gd name="connsiteY246" fmla="*/ 1917394 h 2831613"/>
              <a:gd name="connsiteX247" fmla="*/ 452507 w 14842808"/>
              <a:gd name="connsiteY247" fmla="*/ 1917394 h 2831613"/>
              <a:gd name="connsiteX248" fmla="*/ 452507 w 14842808"/>
              <a:gd name="connsiteY248" fmla="*/ 2813617 h 2831613"/>
              <a:gd name="connsiteX249" fmla="*/ 601711 w 14842808"/>
              <a:gd name="connsiteY249" fmla="*/ 2813617 h 2831613"/>
              <a:gd name="connsiteX250" fmla="*/ 601711 w 14842808"/>
              <a:gd name="connsiteY250" fmla="*/ 2223847 h 2831613"/>
              <a:gd name="connsiteX251" fmla="*/ 797557 w 14842808"/>
              <a:gd name="connsiteY251" fmla="*/ 2014060 h 2831613"/>
              <a:gd name="connsiteX252" fmla="*/ 991599 w 14842808"/>
              <a:gd name="connsiteY252" fmla="*/ 2223847 h 2831613"/>
              <a:gd name="connsiteX253" fmla="*/ 991599 w 14842808"/>
              <a:gd name="connsiteY253" fmla="*/ 2813617 h 2831613"/>
              <a:gd name="connsiteX254" fmla="*/ 1140803 w 14842808"/>
              <a:gd name="connsiteY254" fmla="*/ 2813617 h 2831613"/>
              <a:gd name="connsiteX255" fmla="*/ 1140803 w 14842808"/>
              <a:gd name="connsiteY255" fmla="*/ 2193511 h 2831613"/>
              <a:gd name="connsiteX256" fmla="*/ 853219 w 14842808"/>
              <a:gd name="connsiteY256" fmla="*/ 1899397 h 2831613"/>
              <a:gd name="connsiteX257" fmla="*/ 1756945 w 14842808"/>
              <a:gd name="connsiteY257" fmla="*/ 1899397 h 2831613"/>
              <a:gd name="connsiteX258" fmla="*/ 1505437 w 14842808"/>
              <a:gd name="connsiteY258" fmla="*/ 2055452 h 2831613"/>
              <a:gd name="connsiteX259" fmla="*/ 1505437 w 14842808"/>
              <a:gd name="connsiteY259" fmla="*/ 1917394 h 2831613"/>
              <a:gd name="connsiteX260" fmla="*/ 1356234 w 14842808"/>
              <a:gd name="connsiteY260" fmla="*/ 1917394 h 2831613"/>
              <a:gd name="connsiteX261" fmla="*/ 1356234 w 14842808"/>
              <a:gd name="connsiteY261" fmla="*/ 2813617 h 2831613"/>
              <a:gd name="connsiteX262" fmla="*/ 1505437 w 14842808"/>
              <a:gd name="connsiteY262" fmla="*/ 2813617 h 2831613"/>
              <a:gd name="connsiteX263" fmla="*/ 1505437 w 14842808"/>
              <a:gd name="connsiteY263" fmla="*/ 2223847 h 2831613"/>
              <a:gd name="connsiteX264" fmla="*/ 1701283 w 14842808"/>
              <a:gd name="connsiteY264" fmla="*/ 2014060 h 2831613"/>
              <a:gd name="connsiteX265" fmla="*/ 1895326 w 14842808"/>
              <a:gd name="connsiteY265" fmla="*/ 2223847 h 2831613"/>
              <a:gd name="connsiteX266" fmla="*/ 1895326 w 14842808"/>
              <a:gd name="connsiteY266" fmla="*/ 2813617 h 2831613"/>
              <a:gd name="connsiteX267" fmla="*/ 2044529 w 14842808"/>
              <a:gd name="connsiteY267" fmla="*/ 2813617 h 2831613"/>
              <a:gd name="connsiteX268" fmla="*/ 2044529 w 14842808"/>
              <a:gd name="connsiteY268" fmla="*/ 2193511 h 2831613"/>
              <a:gd name="connsiteX269" fmla="*/ 1756945 w 14842808"/>
              <a:gd name="connsiteY269" fmla="*/ 1899397 h 2831613"/>
              <a:gd name="connsiteX270" fmla="*/ 2644179 w 14842808"/>
              <a:gd name="connsiteY270" fmla="*/ 2704353 h 2831613"/>
              <a:gd name="connsiteX271" fmla="*/ 2389064 w 14842808"/>
              <a:gd name="connsiteY271" fmla="*/ 2365505 h 2831613"/>
              <a:gd name="connsiteX272" fmla="*/ 2644179 w 14842808"/>
              <a:gd name="connsiteY272" fmla="*/ 2026658 h 2831613"/>
              <a:gd name="connsiteX273" fmla="*/ 2899294 w 14842808"/>
              <a:gd name="connsiteY273" fmla="*/ 2365505 h 2831613"/>
              <a:gd name="connsiteX274" fmla="*/ 2644179 w 14842808"/>
              <a:gd name="connsiteY274" fmla="*/ 2704353 h 2831613"/>
              <a:gd name="connsiteX275" fmla="*/ 2651394 w 14842808"/>
              <a:gd name="connsiteY275" fmla="*/ 1899397 h 2831613"/>
              <a:gd name="connsiteX276" fmla="*/ 2232902 w 14842808"/>
              <a:gd name="connsiteY276" fmla="*/ 2376303 h 2831613"/>
              <a:gd name="connsiteX277" fmla="*/ 2637221 w 14842808"/>
              <a:gd name="connsiteY277" fmla="*/ 2831613 h 2831613"/>
              <a:gd name="connsiteX278" fmla="*/ 3055971 w 14842808"/>
              <a:gd name="connsiteY278" fmla="*/ 2354707 h 2831613"/>
              <a:gd name="connsiteX279" fmla="*/ 2651394 w 14842808"/>
              <a:gd name="connsiteY279" fmla="*/ 1899397 h 2831613"/>
              <a:gd name="connsiteX280" fmla="*/ 4365047 w 14842808"/>
              <a:gd name="connsiteY280" fmla="*/ 2723892 h 2831613"/>
              <a:gd name="connsiteX281" fmla="*/ 4192651 w 14842808"/>
              <a:gd name="connsiteY281" fmla="*/ 2566294 h 2831613"/>
              <a:gd name="connsiteX282" fmla="*/ 4343659 w 14842808"/>
              <a:gd name="connsiteY282" fmla="*/ 2415638 h 2831613"/>
              <a:gd name="connsiteX283" fmla="*/ 4453178 w 14842808"/>
              <a:gd name="connsiteY283" fmla="*/ 2388644 h 2831613"/>
              <a:gd name="connsiteX284" fmla="*/ 4573520 w 14842808"/>
              <a:gd name="connsiteY284" fmla="*/ 2349309 h 2831613"/>
              <a:gd name="connsiteX285" fmla="*/ 4573520 w 14842808"/>
              <a:gd name="connsiteY285" fmla="*/ 2523103 h 2831613"/>
              <a:gd name="connsiteX286" fmla="*/ 4365047 w 14842808"/>
              <a:gd name="connsiteY286" fmla="*/ 2723892 h 2831613"/>
              <a:gd name="connsiteX287" fmla="*/ 4411947 w 14842808"/>
              <a:gd name="connsiteY287" fmla="*/ 1899397 h 2831613"/>
              <a:gd name="connsiteX288" fmla="*/ 4049116 w 14842808"/>
              <a:gd name="connsiteY288" fmla="*/ 2186312 h 2831613"/>
              <a:gd name="connsiteX289" fmla="*/ 4187497 w 14842808"/>
              <a:gd name="connsiteY289" fmla="*/ 2215106 h 2831613"/>
              <a:gd name="connsiteX290" fmla="*/ 4401381 w 14842808"/>
              <a:gd name="connsiteY290" fmla="*/ 2014317 h 2831613"/>
              <a:gd name="connsiteX291" fmla="*/ 4573777 w 14842808"/>
              <a:gd name="connsiteY291" fmla="*/ 2180913 h 2831613"/>
              <a:gd name="connsiteX292" fmla="*/ 4573777 w 14842808"/>
              <a:gd name="connsiteY292" fmla="*/ 2186312 h 2831613"/>
              <a:gd name="connsiteX293" fmla="*/ 4521724 w 14842808"/>
              <a:gd name="connsiteY293" fmla="*/ 2258041 h 2831613"/>
              <a:gd name="connsiteX294" fmla="*/ 4263001 w 14842808"/>
              <a:gd name="connsiteY294" fmla="*/ 2322571 h 2831613"/>
              <a:gd name="connsiteX295" fmla="*/ 4043705 w 14842808"/>
              <a:gd name="connsiteY295" fmla="*/ 2577092 h 2831613"/>
              <a:gd name="connsiteX296" fmla="*/ 4324074 w 14842808"/>
              <a:gd name="connsiteY296" fmla="*/ 2831613 h 2831613"/>
              <a:gd name="connsiteX297" fmla="*/ 4573777 w 14842808"/>
              <a:gd name="connsiteY297" fmla="*/ 2677358 h 2831613"/>
              <a:gd name="connsiteX298" fmla="*/ 4591816 w 14842808"/>
              <a:gd name="connsiteY298" fmla="*/ 2813617 h 2831613"/>
              <a:gd name="connsiteX299" fmla="*/ 4744627 w 14842808"/>
              <a:gd name="connsiteY299" fmla="*/ 2813617 h 2831613"/>
              <a:gd name="connsiteX300" fmla="*/ 4721177 w 14842808"/>
              <a:gd name="connsiteY300" fmla="*/ 2627225 h 2831613"/>
              <a:gd name="connsiteX301" fmla="*/ 4721177 w 14842808"/>
              <a:gd name="connsiteY301" fmla="*/ 2171915 h 2831613"/>
              <a:gd name="connsiteX302" fmla="*/ 4411947 w 14842808"/>
              <a:gd name="connsiteY302" fmla="*/ 1899397 h 2831613"/>
              <a:gd name="connsiteX303" fmla="*/ 6942741 w 14842808"/>
              <a:gd name="connsiteY303" fmla="*/ 2268581 h 2831613"/>
              <a:gd name="connsiteX304" fmla="*/ 7185229 w 14842808"/>
              <a:gd name="connsiteY304" fmla="*/ 2021259 h 2831613"/>
              <a:gd name="connsiteX305" fmla="*/ 7402721 w 14842808"/>
              <a:gd name="connsiteY305" fmla="*/ 2268581 h 2831613"/>
              <a:gd name="connsiteX306" fmla="*/ 6942741 w 14842808"/>
              <a:gd name="connsiteY306" fmla="*/ 2268581 h 2831613"/>
              <a:gd name="connsiteX307" fmla="*/ 7185229 w 14842808"/>
              <a:gd name="connsiteY307" fmla="*/ 1899397 h 2831613"/>
              <a:gd name="connsiteX308" fmla="*/ 6782714 w 14842808"/>
              <a:gd name="connsiteY308" fmla="*/ 2372704 h 2831613"/>
              <a:gd name="connsiteX309" fmla="*/ 7185229 w 14842808"/>
              <a:gd name="connsiteY309" fmla="*/ 2831613 h 2831613"/>
              <a:gd name="connsiteX310" fmla="*/ 7551667 w 14842808"/>
              <a:gd name="connsiteY310" fmla="*/ 2539557 h 2831613"/>
              <a:gd name="connsiteX311" fmla="*/ 7415091 w 14842808"/>
              <a:gd name="connsiteY311" fmla="*/ 2503821 h 2831613"/>
              <a:gd name="connsiteX312" fmla="*/ 7199403 w 14842808"/>
              <a:gd name="connsiteY312" fmla="*/ 2706410 h 2831613"/>
              <a:gd name="connsiteX313" fmla="*/ 6937072 w 14842808"/>
              <a:gd name="connsiteY313" fmla="*/ 2374761 h 2831613"/>
              <a:gd name="connsiteX314" fmla="*/ 7553213 w 14842808"/>
              <a:gd name="connsiteY314" fmla="*/ 2374761 h 2831613"/>
              <a:gd name="connsiteX315" fmla="*/ 7553213 w 14842808"/>
              <a:gd name="connsiteY315" fmla="*/ 2324627 h 2831613"/>
              <a:gd name="connsiteX316" fmla="*/ 7185229 w 14842808"/>
              <a:gd name="connsiteY316" fmla="*/ 1899397 h 2831613"/>
              <a:gd name="connsiteX317" fmla="*/ 9777354 w 14842808"/>
              <a:gd name="connsiteY317" fmla="*/ 2268581 h 2831613"/>
              <a:gd name="connsiteX318" fmla="*/ 10019842 w 14842808"/>
              <a:gd name="connsiteY318" fmla="*/ 2021259 h 2831613"/>
              <a:gd name="connsiteX319" fmla="*/ 10237334 w 14842808"/>
              <a:gd name="connsiteY319" fmla="*/ 2268581 h 2831613"/>
              <a:gd name="connsiteX320" fmla="*/ 9777354 w 14842808"/>
              <a:gd name="connsiteY320" fmla="*/ 2268581 h 2831613"/>
              <a:gd name="connsiteX321" fmla="*/ 10019842 w 14842808"/>
              <a:gd name="connsiteY321" fmla="*/ 1899397 h 2831613"/>
              <a:gd name="connsiteX322" fmla="*/ 9617327 w 14842808"/>
              <a:gd name="connsiteY322" fmla="*/ 2372704 h 2831613"/>
              <a:gd name="connsiteX323" fmla="*/ 10019842 w 14842808"/>
              <a:gd name="connsiteY323" fmla="*/ 2831613 h 2831613"/>
              <a:gd name="connsiteX324" fmla="*/ 10386280 w 14842808"/>
              <a:gd name="connsiteY324" fmla="*/ 2539557 h 2831613"/>
              <a:gd name="connsiteX325" fmla="*/ 10249704 w 14842808"/>
              <a:gd name="connsiteY325" fmla="*/ 2503821 h 2831613"/>
              <a:gd name="connsiteX326" fmla="*/ 10034016 w 14842808"/>
              <a:gd name="connsiteY326" fmla="*/ 2706410 h 2831613"/>
              <a:gd name="connsiteX327" fmla="*/ 9771684 w 14842808"/>
              <a:gd name="connsiteY327" fmla="*/ 2374761 h 2831613"/>
              <a:gd name="connsiteX328" fmla="*/ 10387826 w 14842808"/>
              <a:gd name="connsiteY328" fmla="*/ 2374761 h 2831613"/>
              <a:gd name="connsiteX329" fmla="*/ 10387826 w 14842808"/>
              <a:gd name="connsiteY329" fmla="*/ 2324627 h 2831613"/>
              <a:gd name="connsiteX330" fmla="*/ 10019842 w 14842808"/>
              <a:gd name="connsiteY330" fmla="*/ 1899397 h 2831613"/>
              <a:gd name="connsiteX331" fmla="*/ 12299387 w 14842808"/>
              <a:gd name="connsiteY331" fmla="*/ 1899397 h 2831613"/>
              <a:gd name="connsiteX332" fmla="*/ 11886049 w 14842808"/>
              <a:gd name="connsiteY332" fmla="*/ 2374503 h 2831613"/>
              <a:gd name="connsiteX333" fmla="*/ 12292171 w 14842808"/>
              <a:gd name="connsiteY333" fmla="*/ 2831613 h 2831613"/>
              <a:gd name="connsiteX334" fmla="*/ 12660413 w 14842808"/>
              <a:gd name="connsiteY334" fmla="*/ 2512562 h 2831613"/>
              <a:gd name="connsiteX335" fmla="*/ 12518425 w 14842808"/>
              <a:gd name="connsiteY335" fmla="*/ 2478369 h 2831613"/>
              <a:gd name="connsiteX336" fmla="*/ 12302736 w 14842808"/>
              <a:gd name="connsiteY336" fmla="*/ 2704353 h 2831613"/>
              <a:gd name="connsiteX337" fmla="*/ 12042210 w 14842808"/>
              <a:gd name="connsiteY337" fmla="*/ 2363706 h 2831613"/>
              <a:gd name="connsiteX338" fmla="*/ 12295521 w 14842808"/>
              <a:gd name="connsiteY338" fmla="*/ 2026658 h 2831613"/>
              <a:gd name="connsiteX339" fmla="*/ 12518167 w 14842808"/>
              <a:gd name="connsiteY339" fmla="*/ 2241844 h 2831613"/>
              <a:gd name="connsiteX340" fmla="*/ 12660156 w 14842808"/>
              <a:gd name="connsiteY340" fmla="*/ 2207908 h 2831613"/>
              <a:gd name="connsiteX341" fmla="*/ 12299387 w 14842808"/>
              <a:gd name="connsiteY341" fmla="*/ 1899397 h 2831613"/>
              <a:gd name="connsiteX342" fmla="*/ 13596350 w 14842808"/>
              <a:gd name="connsiteY342" fmla="*/ 1899397 h 2831613"/>
              <a:gd name="connsiteX343" fmla="*/ 13344844 w 14842808"/>
              <a:gd name="connsiteY343" fmla="*/ 2055452 h 2831613"/>
              <a:gd name="connsiteX344" fmla="*/ 13344844 w 14842808"/>
              <a:gd name="connsiteY344" fmla="*/ 1917394 h 2831613"/>
              <a:gd name="connsiteX345" fmla="*/ 13195639 w 14842808"/>
              <a:gd name="connsiteY345" fmla="*/ 1917394 h 2831613"/>
              <a:gd name="connsiteX346" fmla="*/ 13195639 w 14842808"/>
              <a:gd name="connsiteY346" fmla="*/ 2813617 h 2831613"/>
              <a:gd name="connsiteX347" fmla="*/ 13344844 w 14842808"/>
              <a:gd name="connsiteY347" fmla="*/ 2813617 h 2831613"/>
              <a:gd name="connsiteX348" fmla="*/ 13344844 w 14842808"/>
              <a:gd name="connsiteY348" fmla="*/ 2223847 h 2831613"/>
              <a:gd name="connsiteX349" fmla="*/ 13540690 w 14842808"/>
              <a:gd name="connsiteY349" fmla="*/ 2014060 h 2831613"/>
              <a:gd name="connsiteX350" fmla="*/ 13734732 w 14842808"/>
              <a:gd name="connsiteY350" fmla="*/ 2223847 h 2831613"/>
              <a:gd name="connsiteX351" fmla="*/ 13734732 w 14842808"/>
              <a:gd name="connsiteY351" fmla="*/ 2813617 h 2831613"/>
              <a:gd name="connsiteX352" fmla="*/ 13883936 w 14842808"/>
              <a:gd name="connsiteY352" fmla="*/ 2813617 h 2831613"/>
              <a:gd name="connsiteX353" fmla="*/ 13883936 w 14842808"/>
              <a:gd name="connsiteY353" fmla="*/ 2193511 h 2831613"/>
              <a:gd name="connsiteX354" fmla="*/ 13596350 w 14842808"/>
              <a:gd name="connsiteY354" fmla="*/ 1899397 h 2831613"/>
              <a:gd name="connsiteX355" fmla="*/ 14232336 w 14842808"/>
              <a:gd name="connsiteY355" fmla="*/ 2268581 h 2831613"/>
              <a:gd name="connsiteX356" fmla="*/ 14474823 w 14842808"/>
              <a:gd name="connsiteY356" fmla="*/ 2021259 h 2831613"/>
              <a:gd name="connsiteX357" fmla="*/ 14692316 w 14842808"/>
              <a:gd name="connsiteY357" fmla="*/ 2268581 h 2831613"/>
              <a:gd name="connsiteX358" fmla="*/ 14232336 w 14842808"/>
              <a:gd name="connsiteY358" fmla="*/ 2268581 h 2831613"/>
              <a:gd name="connsiteX359" fmla="*/ 14474823 w 14842808"/>
              <a:gd name="connsiteY359" fmla="*/ 1899397 h 2831613"/>
              <a:gd name="connsiteX360" fmla="*/ 14072308 w 14842808"/>
              <a:gd name="connsiteY360" fmla="*/ 2372704 h 2831613"/>
              <a:gd name="connsiteX361" fmla="*/ 14474823 w 14842808"/>
              <a:gd name="connsiteY361" fmla="*/ 2831613 h 2831613"/>
              <a:gd name="connsiteX362" fmla="*/ 14841262 w 14842808"/>
              <a:gd name="connsiteY362" fmla="*/ 2539557 h 2831613"/>
              <a:gd name="connsiteX363" fmla="*/ 14704684 w 14842808"/>
              <a:gd name="connsiteY363" fmla="*/ 2503821 h 2831613"/>
              <a:gd name="connsiteX364" fmla="*/ 14488996 w 14842808"/>
              <a:gd name="connsiteY364" fmla="*/ 2706410 h 2831613"/>
              <a:gd name="connsiteX365" fmla="*/ 14226666 w 14842808"/>
              <a:gd name="connsiteY365" fmla="*/ 2374761 h 2831613"/>
              <a:gd name="connsiteX366" fmla="*/ 14842809 w 14842808"/>
              <a:gd name="connsiteY366" fmla="*/ 2374761 h 2831613"/>
              <a:gd name="connsiteX367" fmla="*/ 14842809 w 14842808"/>
              <a:gd name="connsiteY367" fmla="*/ 2324627 h 2831613"/>
              <a:gd name="connsiteX368" fmla="*/ 14474823 w 14842808"/>
              <a:gd name="connsiteY368" fmla="*/ 1899397 h 2831613"/>
              <a:gd name="connsiteX369" fmla="*/ 5204092 w 14842808"/>
              <a:gd name="connsiteY369" fmla="*/ 1666471 h 2831613"/>
              <a:gd name="connsiteX370" fmla="*/ 5054889 w 14842808"/>
              <a:gd name="connsiteY370" fmla="*/ 1702207 h 2831613"/>
              <a:gd name="connsiteX371" fmla="*/ 5054889 w 14842808"/>
              <a:gd name="connsiteY371" fmla="*/ 1917394 h 2831613"/>
              <a:gd name="connsiteX372" fmla="*/ 4882493 w 14842808"/>
              <a:gd name="connsiteY372" fmla="*/ 1917394 h 2831613"/>
              <a:gd name="connsiteX373" fmla="*/ 4882493 w 14842808"/>
              <a:gd name="connsiteY373" fmla="*/ 2032057 h 2831613"/>
              <a:gd name="connsiteX374" fmla="*/ 5054889 w 14842808"/>
              <a:gd name="connsiteY374" fmla="*/ 2032057 h 2831613"/>
              <a:gd name="connsiteX375" fmla="*/ 5054889 w 14842808"/>
              <a:gd name="connsiteY375" fmla="*/ 2580434 h 2831613"/>
              <a:gd name="connsiteX376" fmla="*/ 5300985 w 14842808"/>
              <a:gd name="connsiteY376" fmla="*/ 2831356 h 2831613"/>
              <a:gd name="connsiteX377" fmla="*/ 5493223 w 14842808"/>
              <a:gd name="connsiteY377" fmla="*/ 2775824 h 2831613"/>
              <a:gd name="connsiteX378" fmla="*/ 5451992 w 14842808"/>
              <a:gd name="connsiteY378" fmla="*/ 2668360 h 2831613"/>
              <a:gd name="connsiteX379" fmla="*/ 5320827 w 14842808"/>
              <a:gd name="connsiteY379" fmla="*/ 2705895 h 2831613"/>
              <a:gd name="connsiteX380" fmla="*/ 5204092 w 14842808"/>
              <a:gd name="connsiteY380" fmla="*/ 2557039 h 2831613"/>
              <a:gd name="connsiteX381" fmla="*/ 5204092 w 14842808"/>
              <a:gd name="connsiteY381" fmla="*/ 2032057 h 2831613"/>
              <a:gd name="connsiteX382" fmla="*/ 5470031 w 14842808"/>
              <a:gd name="connsiteY382" fmla="*/ 2032057 h 2831613"/>
              <a:gd name="connsiteX383" fmla="*/ 5470031 w 14842808"/>
              <a:gd name="connsiteY383" fmla="*/ 1917394 h 2831613"/>
              <a:gd name="connsiteX384" fmla="*/ 5204092 w 14842808"/>
              <a:gd name="connsiteY384" fmla="*/ 1917394 h 2831613"/>
              <a:gd name="connsiteX385" fmla="*/ 5204092 w 14842808"/>
              <a:gd name="connsiteY385" fmla="*/ 1666471 h 2831613"/>
              <a:gd name="connsiteX386" fmla="*/ 219296 w 14842808"/>
              <a:gd name="connsiteY386" fmla="*/ 1558750 h 2831613"/>
              <a:gd name="connsiteX387" fmla="*/ 62877 w 14842808"/>
              <a:gd name="connsiteY387" fmla="*/ 1558750 h 2831613"/>
              <a:gd name="connsiteX388" fmla="*/ 62877 w 14842808"/>
              <a:gd name="connsiteY388" fmla="*/ 2813360 h 2831613"/>
              <a:gd name="connsiteX389" fmla="*/ 219296 w 14842808"/>
              <a:gd name="connsiteY389" fmla="*/ 2813360 h 2831613"/>
              <a:gd name="connsiteX390" fmla="*/ 219296 w 14842808"/>
              <a:gd name="connsiteY390" fmla="*/ 1558750 h 2831613"/>
              <a:gd name="connsiteX391" fmla="*/ 9411173 w 14842808"/>
              <a:gd name="connsiteY391" fmla="*/ 1558750 h 2831613"/>
              <a:gd name="connsiteX392" fmla="*/ 9174096 w 14842808"/>
              <a:gd name="connsiteY392" fmla="*/ 1558750 h 2831613"/>
              <a:gd name="connsiteX393" fmla="*/ 8802247 w 14842808"/>
              <a:gd name="connsiteY393" fmla="*/ 2569636 h 2831613"/>
              <a:gd name="connsiteX394" fmla="*/ 8428593 w 14842808"/>
              <a:gd name="connsiteY394" fmla="*/ 1558750 h 2831613"/>
              <a:gd name="connsiteX395" fmla="*/ 8180694 w 14842808"/>
              <a:gd name="connsiteY395" fmla="*/ 1558750 h 2831613"/>
              <a:gd name="connsiteX396" fmla="*/ 8180694 w 14842808"/>
              <a:gd name="connsiteY396" fmla="*/ 2813360 h 2831613"/>
              <a:gd name="connsiteX397" fmla="*/ 8337113 w 14842808"/>
              <a:gd name="connsiteY397" fmla="*/ 2813360 h 2831613"/>
              <a:gd name="connsiteX398" fmla="*/ 8337113 w 14842808"/>
              <a:gd name="connsiteY398" fmla="*/ 1732801 h 2831613"/>
              <a:gd name="connsiteX399" fmla="*/ 8737824 w 14842808"/>
              <a:gd name="connsiteY399" fmla="*/ 2813617 h 2831613"/>
              <a:gd name="connsiteX400" fmla="*/ 8858166 w 14842808"/>
              <a:gd name="connsiteY400" fmla="*/ 2813617 h 2831613"/>
              <a:gd name="connsiteX401" fmla="*/ 9255270 w 14842808"/>
              <a:gd name="connsiteY401" fmla="*/ 1731002 h 2831613"/>
              <a:gd name="connsiteX402" fmla="*/ 9255270 w 14842808"/>
              <a:gd name="connsiteY402" fmla="*/ 2813617 h 2831613"/>
              <a:gd name="connsiteX403" fmla="*/ 9411431 w 14842808"/>
              <a:gd name="connsiteY403" fmla="*/ 2813617 h 2831613"/>
              <a:gd name="connsiteX404" fmla="*/ 9411431 w 14842808"/>
              <a:gd name="connsiteY404" fmla="*/ 1558750 h 2831613"/>
              <a:gd name="connsiteX405" fmla="*/ 10941349 w 14842808"/>
              <a:gd name="connsiteY405" fmla="*/ 2704353 h 2831613"/>
              <a:gd name="connsiteX406" fmla="*/ 10695254 w 14842808"/>
              <a:gd name="connsiteY406" fmla="*/ 2365505 h 2831613"/>
              <a:gd name="connsiteX407" fmla="*/ 10941349 w 14842808"/>
              <a:gd name="connsiteY407" fmla="*/ 2026658 h 2831613"/>
              <a:gd name="connsiteX408" fmla="*/ 11187445 w 14842808"/>
              <a:gd name="connsiteY408" fmla="*/ 2365505 h 2831613"/>
              <a:gd name="connsiteX409" fmla="*/ 10941349 w 14842808"/>
              <a:gd name="connsiteY409" fmla="*/ 2704353 h 2831613"/>
              <a:gd name="connsiteX410" fmla="*/ 11333042 w 14842808"/>
              <a:gd name="connsiteY410" fmla="*/ 1558750 h 2831613"/>
              <a:gd name="connsiteX411" fmla="*/ 11183838 w 14842808"/>
              <a:gd name="connsiteY411" fmla="*/ 1558750 h 2831613"/>
              <a:gd name="connsiteX412" fmla="*/ 11183838 w 14842808"/>
              <a:gd name="connsiteY412" fmla="*/ 2089388 h 2831613"/>
              <a:gd name="connsiteX413" fmla="*/ 10916095 w 14842808"/>
              <a:gd name="connsiteY413" fmla="*/ 1899397 h 2831613"/>
              <a:gd name="connsiteX414" fmla="*/ 10538834 w 14842808"/>
              <a:gd name="connsiteY414" fmla="*/ 2370904 h 2831613"/>
              <a:gd name="connsiteX415" fmla="*/ 10903469 w 14842808"/>
              <a:gd name="connsiteY415" fmla="*/ 2831613 h 2831613"/>
              <a:gd name="connsiteX416" fmla="*/ 11183838 w 14842808"/>
              <a:gd name="connsiteY416" fmla="*/ 2632624 h 2831613"/>
              <a:gd name="connsiteX417" fmla="*/ 11183838 w 14842808"/>
              <a:gd name="connsiteY417" fmla="*/ 2700753 h 2831613"/>
              <a:gd name="connsiteX418" fmla="*/ 11192857 w 14842808"/>
              <a:gd name="connsiteY418" fmla="*/ 2813617 h 2831613"/>
              <a:gd name="connsiteX419" fmla="*/ 11343864 w 14842808"/>
              <a:gd name="connsiteY419" fmla="*/ 2813617 h 2831613"/>
              <a:gd name="connsiteX420" fmla="*/ 11333042 w 14842808"/>
              <a:gd name="connsiteY420" fmla="*/ 2627225 h 2831613"/>
              <a:gd name="connsiteX421" fmla="*/ 11333042 w 14842808"/>
              <a:gd name="connsiteY421" fmla="*/ 1558750 h 2831613"/>
              <a:gd name="connsiteX422" fmla="*/ 5712261 w 14842808"/>
              <a:gd name="connsiteY422" fmla="*/ 1532012 h 2831613"/>
              <a:gd name="connsiteX423" fmla="*/ 5606350 w 14842808"/>
              <a:gd name="connsiteY423" fmla="*/ 1637677 h 2831613"/>
              <a:gd name="connsiteX424" fmla="*/ 5712261 w 14842808"/>
              <a:gd name="connsiteY424" fmla="*/ 1741542 h 2831613"/>
              <a:gd name="connsiteX425" fmla="*/ 5816369 w 14842808"/>
              <a:gd name="connsiteY425" fmla="*/ 1637677 h 2831613"/>
              <a:gd name="connsiteX426" fmla="*/ 5712261 w 14842808"/>
              <a:gd name="connsiteY426" fmla="*/ 1532012 h 2831613"/>
              <a:gd name="connsiteX427" fmla="*/ 11623976 w 14842808"/>
              <a:gd name="connsiteY427" fmla="*/ 1532012 h 2831613"/>
              <a:gd name="connsiteX428" fmla="*/ 11518064 w 14842808"/>
              <a:gd name="connsiteY428" fmla="*/ 1637677 h 2831613"/>
              <a:gd name="connsiteX429" fmla="*/ 11623976 w 14842808"/>
              <a:gd name="connsiteY429" fmla="*/ 1741542 h 2831613"/>
              <a:gd name="connsiteX430" fmla="*/ 11728083 w 14842808"/>
              <a:gd name="connsiteY430" fmla="*/ 1637677 h 2831613"/>
              <a:gd name="connsiteX431" fmla="*/ 11623976 w 14842808"/>
              <a:gd name="connsiteY431" fmla="*/ 1532012 h 2831613"/>
              <a:gd name="connsiteX432" fmla="*/ 12906510 w 14842808"/>
              <a:gd name="connsiteY432" fmla="*/ 1532012 h 2831613"/>
              <a:gd name="connsiteX433" fmla="*/ 12800598 w 14842808"/>
              <a:gd name="connsiteY433" fmla="*/ 1637677 h 2831613"/>
              <a:gd name="connsiteX434" fmla="*/ 12906510 w 14842808"/>
              <a:gd name="connsiteY434" fmla="*/ 1741542 h 2831613"/>
              <a:gd name="connsiteX435" fmla="*/ 13010617 w 14842808"/>
              <a:gd name="connsiteY435" fmla="*/ 1637677 h 2831613"/>
              <a:gd name="connsiteX436" fmla="*/ 12906510 w 14842808"/>
              <a:gd name="connsiteY436" fmla="*/ 1532012 h 283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4842808" h="2831613">
                <a:moveTo>
                  <a:pt x="1397722" y="1202934"/>
                </a:moveTo>
                <a:cubicBezTo>
                  <a:pt x="1259341" y="1202934"/>
                  <a:pt x="1182034" y="1072074"/>
                  <a:pt x="1182034" y="835550"/>
                </a:cubicBezTo>
                <a:cubicBezTo>
                  <a:pt x="1182034" y="595426"/>
                  <a:pt x="1259341" y="468165"/>
                  <a:pt x="1397722" y="468165"/>
                </a:cubicBezTo>
                <a:cubicBezTo>
                  <a:pt x="1536103" y="468165"/>
                  <a:pt x="1613410" y="597225"/>
                  <a:pt x="1613410" y="835550"/>
                </a:cubicBezTo>
                <a:cubicBezTo>
                  <a:pt x="1613153" y="1075674"/>
                  <a:pt x="1535845" y="1202934"/>
                  <a:pt x="1397722" y="1202934"/>
                </a:cubicBezTo>
                <a:moveTo>
                  <a:pt x="1397722" y="369441"/>
                </a:moveTo>
                <a:cubicBezTo>
                  <a:pt x="1115549" y="369441"/>
                  <a:pt x="959388" y="579229"/>
                  <a:pt x="959388" y="835550"/>
                </a:cubicBezTo>
                <a:cubicBezTo>
                  <a:pt x="959388" y="1091871"/>
                  <a:pt x="1115807" y="1301658"/>
                  <a:pt x="1397722" y="1301658"/>
                </a:cubicBezTo>
                <a:cubicBezTo>
                  <a:pt x="1679895" y="1301658"/>
                  <a:pt x="1836056" y="1091871"/>
                  <a:pt x="1836056" y="835550"/>
                </a:cubicBezTo>
                <a:cubicBezTo>
                  <a:pt x="1836056" y="578972"/>
                  <a:pt x="1679637" y="369441"/>
                  <a:pt x="1397722" y="369441"/>
                </a:cubicBezTo>
                <a:moveTo>
                  <a:pt x="3357471" y="369441"/>
                </a:moveTo>
                <a:cubicBezTo>
                  <a:pt x="3224501" y="369441"/>
                  <a:pt x="3150802" y="426773"/>
                  <a:pt x="3109571" y="500301"/>
                </a:cubicBezTo>
                <a:lnTo>
                  <a:pt x="3098748" y="500301"/>
                </a:lnTo>
                <a:lnTo>
                  <a:pt x="3098748" y="387438"/>
                </a:lnTo>
                <a:lnTo>
                  <a:pt x="2886667" y="387438"/>
                </a:lnTo>
                <a:lnTo>
                  <a:pt x="2886667" y="1283661"/>
                </a:lnTo>
                <a:lnTo>
                  <a:pt x="3098748" y="1283661"/>
                </a:lnTo>
                <a:lnTo>
                  <a:pt x="3098748" y="704433"/>
                </a:lnTo>
                <a:cubicBezTo>
                  <a:pt x="3098748" y="571773"/>
                  <a:pt x="3167036" y="494645"/>
                  <a:pt x="3276555" y="494645"/>
                </a:cubicBezTo>
                <a:cubicBezTo>
                  <a:pt x="3382467" y="494645"/>
                  <a:pt x="3429367" y="564574"/>
                  <a:pt x="3429367" y="670239"/>
                </a:cubicBezTo>
                <a:lnTo>
                  <a:pt x="3429367" y="1283147"/>
                </a:lnTo>
                <a:lnTo>
                  <a:pt x="3641447" y="1283147"/>
                </a:lnTo>
                <a:lnTo>
                  <a:pt x="3641447" y="668697"/>
                </a:lnTo>
                <a:cubicBezTo>
                  <a:pt x="3641189" y="484105"/>
                  <a:pt x="3544297" y="369441"/>
                  <a:pt x="3357471" y="369441"/>
                </a:cubicBezTo>
                <a:moveTo>
                  <a:pt x="4122559" y="369441"/>
                </a:moveTo>
                <a:cubicBezTo>
                  <a:pt x="3926712" y="369441"/>
                  <a:pt x="3779312" y="451968"/>
                  <a:pt x="3779312" y="627562"/>
                </a:cubicBezTo>
                <a:cubicBezTo>
                  <a:pt x="3779312" y="776418"/>
                  <a:pt x="3881616" y="856888"/>
                  <a:pt x="3996805" y="885683"/>
                </a:cubicBezTo>
                <a:lnTo>
                  <a:pt x="4176416" y="930417"/>
                </a:lnTo>
                <a:cubicBezTo>
                  <a:pt x="4271762" y="953812"/>
                  <a:pt x="4314797" y="987748"/>
                  <a:pt x="4314797" y="1063076"/>
                </a:cubicBezTo>
                <a:cubicBezTo>
                  <a:pt x="4314797" y="1154601"/>
                  <a:pt x="4250116" y="1206534"/>
                  <a:pt x="4136989" y="1206534"/>
                </a:cubicBezTo>
                <a:cubicBezTo>
                  <a:pt x="4014843" y="1206534"/>
                  <a:pt x="3951966" y="1147402"/>
                  <a:pt x="3932124" y="998546"/>
                </a:cubicBezTo>
                <a:lnTo>
                  <a:pt x="3741690" y="1052278"/>
                </a:lnTo>
                <a:cubicBezTo>
                  <a:pt x="3752513" y="1206534"/>
                  <a:pt x="3896305" y="1301401"/>
                  <a:pt x="4113539" y="1301401"/>
                </a:cubicBezTo>
                <a:cubicBezTo>
                  <a:pt x="4356028" y="1301401"/>
                  <a:pt x="4487193" y="1188537"/>
                  <a:pt x="4487193" y="1009344"/>
                </a:cubicBezTo>
                <a:cubicBezTo>
                  <a:pt x="4487193" y="840949"/>
                  <a:pt x="4370458" y="771019"/>
                  <a:pt x="4248313" y="740425"/>
                </a:cubicBezTo>
                <a:lnTo>
                  <a:pt x="4075916" y="697491"/>
                </a:lnTo>
                <a:cubicBezTo>
                  <a:pt x="3989589" y="675895"/>
                  <a:pt x="3951966" y="636560"/>
                  <a:pt x="3951966" y="579229"/>
                </a:cubicBezTo>
                <a:cubicBezTo>
                  <a:pt x="3951966" y="507500"/>
                  <a:pt x="4013039" y="464566"/>
                  <a:pt x="4104778" y="464566"/>
                </a:cubicBezTo>
                <a:cubicBezTo>
                  <a:pt x="4212493" y="464566"/>
                  <a:pt x="4278978" y="523697"/>
                  <a:pt x="4287997" y="636560"/>
                </a:cubicBezTo>
                <a:lnTo>
                  <a:pt x="4467608" y="582828"/>
                </a:lnTo>
                <a:cubicBezTo>
                  <a:pt x="4445962" y="457110"/>
                  <a:pt x="4322013" y="369441"/>
                  <a:pt x="4122559" y="369441"/>
                </a:cubicBezTo>
                <a:moveTo>
                  <a:pt x="5013658" y="1202934"/>
                </a:moveTo>
                <a:cubicBezTo>
                  <a:pt x="4875277" y="1202934"/>
                  <a:pt x="4797969" y="1072074"/>
                  <a:pt x="4797969" y="835550"/>
                </a:cubicBezTo>
                <a:cubicBezTo>
                  <a:pt x="4797969" y="595426"/>
                  <a:pt x="4875277" y="468165"/>
                  <a:pt x="5013658" y="468165"/>
                </a:cubicBezTo>
                <a:cubicBezTo>
                  <a:pt x="5152039" y="468165"/>
                  <a:pt x="5229346" y="597225"/>
                  <a:pt x="5229346" y="835550"/>
                </a:cubicBezTo>
                <a:cubicBezTo>
                  <a:pt x="5229089" y="1075674"/>
                  <a:pt x="5152039" y="1202934"/>
                  <a:pt x="5013658" y="1202934"/>
                </a:cubicBezTo>
                <a:moveTo>
                  <a:pt x="5013658" y="369441"/>
                </a:moveTo>
                <a:cubicBezTo>
                  <a:pt x="4731485" y="369441"/>
                  <a:pt x="4575324" y="579229"/>
                  <a:pt x="4575324" y="835550"/>
                </a:cubicBezTo>
                <a:cubicBezTo>
                  <a:pt x="4575324" y="1091871"/>
                  <a:pt x="4731743" y="1301658"/>
                  <a:pt x="5013658" y="1301658"/>
                </a:cubicBezTo>
                <a:cubicBezTo>
                  <a:pt x="5295831" y="1301658"/>
                  <a:pt x="5451992" y="1091871"/>
                  <a:pt x="5451992" y="835550"/>
                </a:cubicBezTo>
                <a:cubicBezTo>
                  <a:pt x="5451992" y="578972"/>
                  <a:pt x="5295573" y="369441"/>
                  <a:pt x="5013658" y="369441"/>
                </a:cubicBezTo>
                <a:moveTo>
                  <a:pt x="6048292" y="369441"/>
                </a:moveTo>
                <a:cubicBezTo>
                  <a:pt x="5915322" y="369441"/>
                  <a:pt x="5841623" y="426773"/>
                  <a:pt x="5800392" y="500301"/>
                </a:cubicBezTo>
                <a:lnTo>
                  <a:pt x="5789569" y="500301"/>
                </a:lnTo>
                <a:lnTo>
                  <a:pt x="5789569" y="387438"/>
                </a:lnTo>
                <a:lnTo>
                  <a:pt x="5577488" y="387438"/>
                </a:lnTo>
                <a:lnTo>
                  <a:pt x="5577488" y="1283661"/>
                </a:lnTo>
                <a:lnTo>
                  <a:pt x="5789569" y="1283661"/>
                </a:lnTo>
                <a:lnTo>
                  <a:pt x="5789569" y="704433"/>
                </a:lnTo>
                <a:cubicBezTo>
                  <a:pt x="5789569" y="571773"/>
                  <a:pt x="5857857" y="494645"/>
                  <a:pt x="5967376" y="494645"/>
                </a:cubicBezTo>
                <a:cubicBezTo>
                  <a:pt x="6073288" y="494645"/>
                  <a:pt x="6120188" y="564574"/>
                  <a:pt x="6120188" y="670239"/>
                </a:cubicBezTo>
                <a:lnTo>
                  <a:pt x="6120188" y="1283147"/>
                </a:lnTo>
                <a:lnTo>
                  <a:pt x="6332269" y="1283147"/>
                </a:lnTo>
                <a:lnTo>
                  <a:pt x="6332269" y="668697"/>
                </a:lnTo>
                <a:cubicBezTo>
                  <a:pt x="6332269" y="484105"/>
                  <a:pt x="6235118" y="369441"/>
                  <a:pt x="6048292" y="369441"/>
                </a:cubicBezTo>
                <a:moveTo>
                  <a:pt x="9197289" y="1202934"/>
                </a:moveTo>
                <a:cubicBezTo>
                  <a:pt x="9058909" y="1202934"/>
                  <a:pt x="8981601" y="1072074"/>
                  <a:pt x="8981601" y="835550"/>
                </a:cubicBezTo>
                <a:cubicBezTo>
                  <a:pt x="8981601" y="595426"/>
                  <a:pt x="9058909" y="468165"/>
                  <a:pt x="9197289" y="468165"/>
                </a:cubicBezTo>
                <a:cubicBezTo>
                  <a:pt x="9335670" y="468165"/>
                  <a:pt x="9412978" y="597225"/>
                  <a:pt x="9412978" y="835550"/>
                </a:cubicBezTo>
                <a:cubicBezTo>
                  <a:pt x="9412978" y="1075674"/>
                  <a:pt x="9335670" y="1202934"/>
                  <a:pt x="9197289" y="1202934"/>
                </a:cubicBezTo>
                <a:moveTo>
                  <a:pt x="9197289" y="369441"/>
                </a:moveTo>
                <a:cubicBezTo>
                  <a:pt x="8915116" y="369441"/>
                  <a:pt x="8758955" y="579229"/>
                  <a:pt x="8758955" y="835550"/>
                </a:cubicBezTo>
                <a:cubicBezTo>
                  <a:pt x="8758955" y="1091871"/>
                  <a:pt x="8915374" y="1301658"/>
                  <a:pt x="9197289" y="1301658"/>
                </a:cubicBezTo>
                <a:cubicBezTo>
                  <a:pt x="9479462" y="1301658"/>
                  <a:pt x="9635623" y="1091871"/>
                  <a:pt x="9635623" y="835550"/>
                </a:cubicBezTo>
                <a:cubicBezTo>
                  <a:pt x="9635623" y="578972"/>
                  <a:pt x="9479462" y="369441"/>
                  <a:pt x="9197289" y="369441"/>
                </a:cubicBezTo>
                <a:moveTo>
                  <a:pt x="11157038" y="369441"/>
                </a:moveTo>
                <a:cubicBezTo>
                  <a:pt x="11024068" y="369441"/>
                  <a:pt x="10950369" y="426773"/>
                  <a:pt x="10909138" y="500301"/>
                </a:cubicBezTo>
                <a:lnTo>
                  <a:pt x="10898314" y="500301"/>
                </a:lnTo>
                <a:lnTo>
                  <a:pt x="10898314" y="387438"/>
                </a:lnTo>
                <a:lnTo>
                  <a:pt x="10686234" y="387438"/>
                </a:lnTo>
                <a:lnTo>
                  <a:pt x="10686234" y="1283661"/>
                </a:lnTo>
                <a:lnTo>
                  <a:pt x="10898314" y="1283661"/>
                </a:lnTo>
                <a:lnTo>
                  <a:pt x="10898314" y="704433"/>
                </a:lnTo>
                <a:cubicBezTo>
                  <a:pt x="10898314" y="571773"/>
                  <a:pt x="10966603" y="494645"/>
                  <a:pt x="11076123" y="494645"/>
                </a:cubicBezTo>
                <a:cubicBezTo>
                  <a:pt x="11182034" y="494645"/>
                  <a:pt x="11228934" y="564574"/>
                  <a:pt x="11228934" y="670239"/>
                </a:cubicBezTo>
                <a:lnTo>
                  <a:pt x="11228934" y="1283147"/>
                </a:lnTo>
                <a:lnTo>
                  <a:pt x="11441014" y="1283147"/>
                </a:lnTo>
                <a:lnTo>
                  <a:pt x="11441014" y="668697"/>
                </a:lnTo>
                <a:cubicBezTo>
                  <a:pt x="11441014" y="484105"/>
                  <a:pt x="11343864" y="369441"/>
                  <a:pt x="11157038" y="369441"/>
                </a:cubicBezTo>
                <a:moveTo>
                  <a:pt x="11922383" y="369441"/>
                </a:moveTo>
                <a:cubicBezTo>
                  <a:pt x="11726537" y="369441"/>
                  <a:pt x="11579137" y="451968"/>
                  <a:pt x="11579137" y="627562"/>
                </a:cubicBezTo>
                <a:cubicBezTo>
                  <a:pt x="11579137" y="776418"/>
                  <a:pt x="11681441" y="856888"/>
                  <a:pt x="11796630" y="885683"/>
                </a:cubicBezTo>
                <a:lnTo>
                  <a:pt x="11976241" y="930417"/>
                </a:lnTo>
                <a:cubicBezTo>
                  <a:pt x="12071329" y="953812"/>
                  <a:pt x="12114621" y="987748"/>
                  <a:pt x="12114621" y="1063076"/>
                </a:cubicBezTo>
                <a:cubicBezTo>
                  <a:pt x="12114621" y="1154601"/>
                  <a:pt x="12049941" y="1206534"/>
                  <a:pt x="11936814" y="1206534"/>
                </a:cubicBezTo>
                <a:cubicBezTo>
                  <a:pt x="11814668" y="1206534"/>
                  <a:pt x="11751791" y="1147402"/>
                  <a:pt x="11731949" y="998546"/>
                </a:cubicBezTo>
                <a:lnTo>
                  <a:pt x="11541514" y="1052278"/>
                </a:lnTo>
                <a:cubicBezTo>
                  <a:pt x="11552337" y="1206534"/>
                  <a:pt x="11696130" y="1301401"/>
                  <a:pt x="11913364" y="1301401"/>
                </a:cubicBezTo>
                <a:cubicBezTo>
                  <a:pt x="12155852" y="1301401"/>
                  <a:pt x="12287018" y="1188537"/>
                  <a:pt x="12287018" y="1009344"/>
                </a:cubicBezTo>
                <a:cubicBezTo>
                  <a:pt x="12287018" y="840949"/>
                  <a:pt x="12170283" y="771019"/>
                  <a:pt x="12048137" y="740425"/>
                </a:cubicBezTo>
                <a:lnTo>
                  <a:pt x="11875741" y="697491"/>
                </a:lnTo>
                <a:cubicBezTo>
                  <a:pt x="11789414" y="675895"/>
                  <a:pt x="11751791" y="636560"/>
                  <a:pt x="11751791" y="579229"/>
                </a:cubicBezTo>
                <a:cubicBezTo>
                  <a:pt x="11751791" y="507500"/>
                  <a:pt x="11812864" y="464566"/>
                  <a:pt x="11904603" y="464566"/>
                </a:cubicBezTo>
                <a:cubicBezTo>
                  <a:pt x="12012318" y="464566"/>
                  <a:pt x="12078802" y="523697"/>
                  <a:pt x="12087821" y="636560"/>
                </a:cubicBezTo>
                <a:lnTo>
                  <a:pt x="12267433" y="582828"/>
                </a:lnTo>
                <a:cubicBezTo>
                  <a:pt x="12245787" y="457110"/>
                  <a:pt x="12121837" y="369441"/>
                  <a:pt x="11922383" y="369441"/>
                </a:cubicBezTo>
                <a:moveTo>
                  <a:pt x="12813224" y="1202934"/>
                </a:moveTo>
                <a:cubicBezTo>
                  <a:pt x="12674844" y="1202934"/>
                  <a:pt x="12597536" y="1072074"/>
                  <a:pt x="12597536" y="835550"/>
                </a:cubicBezTo>
                <a:cubicBezTo>
                  <a:pt x="12597536" y="595426"/>
                  <a:pt x="12674844" y="468165"/>
                  <a:pt x="12813224" y="468165"/>
                </a:cubicBezTo>
                <a:cubicBezTo>
                  <a:pt x="12951606" y="468165"/>
                  <a:pt x="13028913" y="597225"/>
                  <a:pt x="13028913" y="835550"/>
                </a:cubicBezTo>
                <a:cubicBezTo>
                  <a:pt x="13028913" y="1075674"/>
                  <a:pt x="12951606" y="1202934"/>
                  <a:pt x="12813224" y="1202934"/>
                </a:cubicBezTo>
                <a:moveTo>
                  <a:pt x="12813224" y="369441"/>
                </a:moveTo>
                <a:cubicBezTo>
                  <a:pt x="12531052" y="369441"/>
                  <a:pt x="12374891" y="579229"/>
                  <a:pt x="12374891" y="835550"/>
                </a:cubicBezTo>
                <a:cubicBezTo>
                  <a:pt x="12374891" y="1091871"/>
                  <a:pt x="12531310" y="1301658"/>
                  <a:pt x="12813224" y="1301658"/>
                </a:cubicBezTo>
                <a:cubicBezTo>
                  <a:pt x="13095398" y="1301658"/>
                  <a:pt x="13251560" y="1091871"/>
                  <a:pt x="13251560" y="835550"/>
                </a:cubicBezTo>
                <a:cubicBezTo>
                  <a:pt x="13251560" y="578972"/>
                  <a:pt x="13095398" y="369441"/>
                  <a:pt x="12813224" y="369441"/>
                </a:cubicBezTo>
                <a:moveTo>
                  <a:pt x="13847858" y="369441"/>
                </a:moveTo>
                <a:cubicBezTo>
                  <a:pt x="13714890" y="369441"/>
                  <a:pt x="13641190" y="426773"/>
                  <a:pt x="13599958" y="500301"/>
                </a:cubicBezTo>
                <a:lnTo>
                  <a:pt x="13589136" y="500301"/>
                </a:lnTo>
                <a:lnTo>
                  <a:pt x="13589136" y="387438"/>
                </a:lnTo>
                <a:lnTo>
                  <a:pt x="13377056" y="387438"/>
                </a:lnTo>
                <a:lnTo>
                  <a:pt x="13377056" y="1283661"/>
                </a:lnTo>
                <a:lnTo>
                  <a:pt x="13589136" y="1283661"/>
                </a:lnTo>
                <a:lnTo>
                  <a:pt x="13589136" y="704433"/>
                </a:lnTo>
                <a:cubicBezTo>
                  <a:pt x="13589136" y="571773"/>
                  <a:pt x="13657425" y="494645"/>
                  <a:pt x="13766944" y="494645"/>
                </a:cubicBezTo>
                <a:cubicBezTo>
                  <a:pt x="13872855" y="494645"/>
                  <a:pt x="13919755" y="564574"/>
                  <a:pt x="13919755" y="670239"/>
                </a:cubicBezTo>
                <a:lnTo>
                  <a:pt x="13919755" y="1283147"/>
                </a:lnTo>
                <a:lnTo>
                  <a:pt x="14131835" y="1283147"/>
                </a:lnTo>
                <a:lnTo>
                  <a:pt x="14131835" y="668697"/>
                </a:lnTo>
                <a:cubicBezTo>
                  <a:pt x="14131835" y="484105"/>
                  <a:pt x="14034943" y="369441"/>
                  <a:pt x="13847858" y="369441"/>
                </a:cubicBezTo>
                <a:moveTo>
                  <a:pt x="833634" y="28794"/>
                </a:moveTo>
                <a:lnTo>
                  <a:pt x="610730" y="28794"/>
                </a:lnTo>
                <a:lnTo>
                  <a:pt x="610730" y="955355"/>
                </a:lnTo>
                <a:cubicBezTo>
                  <a:pt x="610730" y="1106011"/>
                  <a:pt x="553265" y="1195479"/>
                  <a:pt x="416688" y="1195479"/>
                </a:cubicBezTo>
                <a:cubicBezTo>
                  <a:pt x="281915" y="1195479"/>
                  <a:pt x="222646" y="1100612"/>
                  <a:pt x="222646" y="937358"/>
                </a:cubicBezTo>
                <a:lnTo>
                  <a:pt x="222646" y="765363"/>
                </a:lnTo>
                <a:lnTo>
                  <a:pt x="0" y="821152"/>
                </a:lnTo>
                <a:lnTo>
                  <a:pt x="0" y="898280"/>
                </a:lnTo>
                <a:cubicBezTo>
                  <a:pt x="0" y="1133005"/>
                  <a:pt x="116735" y="1312456"/>
                  <a:pt x="416946" y="1312456"/>
                </a:cubicBezTo>
                <a:cubicBezTo>
                  <a:pt x="716899" y="1312456"/>
                  <a:pt x="833634" y="1133262"/>
                  <a:pt x="833634" y="898280"/>
                </a:cubicBezTo>
                <a:lnTo>
                  <a:pt x="833634" y="28794"/>
                </a:lnTo>
                <a:moveTo>
                  <a:pt x="2173633" y="28794"/>
                </a:moveTo>
                <a:lnTo>
                  <a:pt x="1961552" y="28794"/>
                </a:lnTo>
                <a:lnTo>
                  <a:pt x="1961552" y="1283404"/>
                </a:lnTo>
                <a:lnTo>
                  <a:pt x="2173633" y="1283404"/>
                </a:lnTo>
                <a:lnTo>
                  <a:pt x="2173633" y="704433"/>
                </a:lnTo>
                <a:cubicBezTo>
                  <a:pt x="2173633" y="571773"/>
                  <a:pt x="2241921" y="494645"/>
                  <a:pt x="2351441" y="494645"/>
                </a:cubicBezTo>
                <a:cubicBezTo>
                  <a:pt x="2457352" y="494645"/>
                  <a:pt x="2504252" y="564574"/>
                  <a:pt x="2504252" y="670239"/>
                </a:cubicBezTo>
                <a:lnTo>
                  <a:pt x="2504252" y="1283147"/>
                </a:lnTo>
                <a:lnTo>
                  <a:pt x="2716075" y="1283147"/>
                </a:lnTo>
                <a:lnTo>
                  <a:pt x="2716075" y="668697"/>
                </a:lnTo>
                <a:cubicBezTo>
                  <a:pt x="2716075" y="484105"/>
                  <a:pt x="2618925" y="369441"/>
                  <a:pt x="2432098" y="369441"/>
                </a:cubicBezTo>
                <a:cubicBezTo>
                  <a:pt x="2299129" y="369441"/>
                  <a:pt x="2225429" y="426773"/>
                  <a:pt x="2184198" y="500301"/>
                </a:cubicBezTo>
                <a:lnTo>
                  <a:pt x="2173375" y="500301"/>
                </a:lnTo>
                <a:lnTo>
                  <a:pt x="2173375" y="28794"/>
                </a:lnTo>
                <a:moveTo>
                  <a:pt x="8633201" y="28794"/>
                </a:moveTo>
                <a:lnTo>
                  <a:pt x="8410555" y="28794"/>
                </a:lnTo>
                <a:lnTo>
                  <a:pt x="8410555" y="955355"/>
                </a:lnTo>
                <a:cubicBezTo>
                  <a:pt x="8410555" y="1106011"/>
                  <a:pt x="8353090" y="1195479"/>
                  <a:pt x="8216513" y="1195479"/>
                </a:cubicBezTo>
                <a:cubicBezTo>
                  <a:pt x="8081740" y="1195479"/>
                  <a:pt x="8022471" y="1100612"/>
                  <a:pt x="8022471" y="937358"/>
                </a:cubicBezTo>
                <a:lnTo>
                  <a:pt x="8022471" y="765363"/>
                </a:lnTo>
                <a:lnTo>
                  <a:pt x="7799825" y="820895"/>
                </a:lnTo>
                <a:lnTo>
                  <a:pt x="7799825" y="898023"/>
                </a:lnTo>
                <a:cubicBezTo>
                  <a:pt x="7799825" y="1132748"/>
                  <a:pt x="7916559" y="1312199"/>
                  <a:pt x="8216771" y="1312199"/>
                </a:cubicBezTo>
                <a:cubicBezTo>
                  <a:pt x="8516724" y="1312199"/>
                  <a:pt x="8633459" y="1133005"/>
                  <a:pt x="8633459" y="898023"/>
                </a:cubicBezTo>
                <a:lnTo>
                  <a:pt x="8633459" y="28794"/>
                </a:lnTo>
                <a:moveTo>
                  <a:pt x="9973200" y="28794"/>
                </a:moveTo>
                <a:lnTo>
                  <a:pt x="9761120" y="28794"/>
                </a:lnTo>
                <a:lnTo>
                  <a:pt x="9761120" y="1283404"/>
                </a:lnTo>
                <a:lnTo>
                  <a:pt x="9973200" y="1283404"/>
                </a:lnTo>
                <a:lnTo>
                  <a:pt x="9973200" y="704433"/>
                </a:lnTo>
                <a:cubicBezTo>
                  <a:pt x="9973200" y="571773"/>
                  <a:pt x="10041488" y="494645"/>
                  <a:pt x="10151007" y="494645"/>
                </a:cubicBezTo>
                <a:cubicBezTo>
                  <a:pt x="10256919" y="494645"/>
                  <a:pt x="10303819" y="564574"/>
                  <a:pt x="10303819" y="670239"/>
                </a:cubicBezTo>
                <a:lnTo>
                  <a:pt x="10303819" y="1283147"/>
                </a:lnTo>
                <a:lnTo>
                  <a:pt x="10515899" y="1283147"/>
                </a:lnTo>
                <a:lnTo>
                  <a:pt x="10515899" y="668697"/>
                </a:lnTo>
                <a:cubicBezTo>
                  <a:pt x="10515899" y="484105"/>
                  <a:pt x="10419008" y="369441"/>
                  <a:pt x="10231923" y="369441"/>
                </a:cubicBezTo>
                <a:cubicBezTo>
                  <a:pt x="10098954" y="369441"/>
                  <a:pt x="10025254" y="426773"/>
                  <a:pt x="9984023" y="500301"/>
                </a:cubicBezTo>
                <a:lnTo>
                  <a:pt x="9973200" y="500301"/>
                </a:lnTo>
                <a:lnTo>
                  <a:pt x="9973200" y="28794"/>
                </a:lnTo>
                <a:moveTo>
                  <a:pt x="7030872" y="1181339"/>
                </a:moveTo>
                <a:cubicBezTo>
                  <a:pt x="6858476" y="1181339"/>
                  <a:pt x="6752307" y="1041480"/>
                  <a:pt x="6752307" y="892624"/>
                </a:cubicBezTo>
                <a:cubicBezTo>
                  <a:pt x="6752307" y="799300"/>
                  <a:pt x="6793538" y="713431"/>
                  <a:pt x="6861826" y="665097"/>
                </a:cubicBezTo>
                <a:lnTo>
                  <a:pt x="7267949" y="1107810"/>
                </a:lnTo>
                <a:cubicBezTo>
                  <a:pt x="7192702" y="1152544"/>
                  <a:pt x="7108179" y="1181339"/>
                  <a:pt x="7030872" y="1181339"/>
                </a:cubicBezTo>
                <a:moveTo>
                  <a:pt x="7426171" y="960754"/>
                </a:moveTo>
                <a:lnTo>
                  <a:pt x="7074164" y="573573"/>
                </a:lnTo>
                <a:cubicBezTo>
                  <a:pt x="7137041" y="548378"/>
                  <a:pt x="7198114" y="539637"/>
                  <a:pt x="7248364" y="539637"/>
                </a:cubicBezTo>
                <a:cubicBezTo>
                  <a:pt x="7393960" y="539637"/>
                  <a:pt x="7483637" y="623963"/>
                  <a:pt x="7483637" y="768963"/>
                </a:cubicBezTo>
                <a:cubicBezTo>
                  <a:pt x="7483637" y="833493"/>
                  <a:pt x="7465598" y="899823"/>
                  <a:pt x="7426171" y="960754"/>
                </a:cubicBezTo>
                <a:moveTo>
                  <a:pt x="7025461" y="521640"/>
                </a:moveTo>
                <a:lnTo>
                  <a:pt x="6948153" y="435514"/>
                </a:lnTo>
                <a:cubicBezTo>
                  <a:pt x="6879864" y="360186"/>
                  <a:pt x="6860022" y="313652"/>
                  <a:pt x="6860022" y="258121"/>
                </a:cubicBezTo>
                <a:cubicBezTo>
                  <a:pt x="6860022" y="154255"/>
                  <a:pt x="6926507" y="95124"/>
                  <a:pt x="7030614" y="95124"/>
                </a:cubicBezTo>
                <a:cubicBezTo>
                  <a:pt x="7136526" y="95124"/>
                  <a:pt x="7199403" y="156055"/>
                  <a:pt x="7199403" y="267119"/>
                </a:cubicBezTo>
                <a:cubicBezTo>
                  <a:pt x="7199918" y="369441"/>
                  <a:pt x="7149410" y="466108"/>
                  <a:pt x="7025461" y="521640"/>
                </a:cubicBezTo>
                <a:moveTo>
                  <a:pt x="7036283" y="0"/>
                </a:moveTo>
                <a:cubicBezTo>
                  <a:pt x="6788383" y="0"/>
                  <a:pt x="6666238" y="138059"/>
                  <a:pt x="6666238" y="310053"/>
                </a:cubicBezTo>
                <a:cubicBezTo>
                  <a:pt x="6666238" y="403121"/>
                  <a:pt x="6705665" y="496445"/>
                  <a:pt x="6810030" y="609308"/>
                </a:cubicBezTo>
                <a:lnTo>
                  <a:pt x="6811834" y="612908"/>
                </a:lnTo>
                <a:cubicBezTo>
                  <a:pt x="6635829" y="697234"/>
                  <a:pt x="6554914" y="833493"/>
                  <a:pt x="6554914" y="973094"/>
                </a:cubicBezTo>
                <a:cubicBezTo>
                  <a:pt x="6554914" y="1157686"/>
                  <a:pt x="6696903" y="1311941"/>
                  <a:pt x="6915941" y="1311941"/>
                </a:cubicBezTo>
                <a:cubicBezTo>
                  <a:pt x="7041694" y="1311941"/>
                  <a:pt x="7189094" y="1260009"/>
                  <a:pt x="7322064" y="1166684"/>
                </a:cubicBezTo>
                <a:lnTo>
                  <a:pt x="7429780" y="1283147"/>
                </a:lnTo>
                <a:lnTo>
                  <a:pt x="7711952" y="1283147"/>
                </a:lnTo>
                <a:lnTo>
                  <a:pt x="7711952" y="1274406"/>
                </a:lnTo>
                <a:lnTo>
                  <a:pt x="7482091" y="1021684"/>
                </a:lnTo>
                <a:cubicBezTo>
                  <a:pt x="7579241" y="907021"/>
                  <a:pt x="7634902" y="781560"/>
                  <a:pt x="7634902" y="672039"/>
                </a:cubicBezTo>
                <a:cubicBezTo>
                  <a:pt x="7634902" y="535780"/>
                  <a:pt x="7543164" y="444512"/>
                  <a:pt x="7399629" y="444512"/>
                </a:cubicBezTo>
                <a:cubicBezTo>
                  <a:pt x="7324126" y="444512"/>
                  <a:pt x="7239603" y="466108"/>
                  <a:pt x="7183941" y="487447"/>
                </a:cubicBezTo>
                <a:lnTo>
                  <a:pt x="7180333" y="480248"/>
                </a:lnTo>
                <a:cubicBezTo>
                  <a:pt x="7316910" y="406720"/>
                  <a:pt x="7374375" y="338590"/>
                  <a:pt x="7374375" y="243723"/>
                </a:cubicBezTo>
                <a:cubicBezTo>
                  <a:pt x="7374118" y="107722"/>
                  <a:pt x="7251971" y="0"/>
                  <a:pt x="7036283" y="0"/>
                </a:cubicBezTo>
                <a:moveTo>
                  <a:pt x="3908932" y="1917394"/>
                </a:moveTo>
                <a:lnTo>
                  <a:pt x="3756120" y="1917394"/>
                </a:lnTo>
                <a:lnTo>
                  <a:pt x="3526259" y="2641622"/>
                </a:lnTo>
                <a:lnTo>
                  <a:pt x="3294594" y="1917394"/>
                </a:lnTo>
                <a:lnTo>
                  <a:pt x="3136371" y="1917394"/>
                </a:lnTo>
                <a:lnTo>
                  <a:pt x="3429109" y="2813617"/>
                </a:lnTo>
                <a:lnTo>
                  <a:pt x="3615936" y="2813617"/>
                </a:lnTo>
                <a:lnTo>
                  <a:pt x="3908932" y="1917394"/>
                </a:lnTo>
                <a:moveTo>
                  <a:pt x="5785961" y="1917394"/>
                </a:moveTo>
                <a:lnTo>
                  <a:pt x="5636757" y="1917394"/>
                </a:lnTo>
                <a:lnTo>
                  <a:pt x="5636757" y="2813617"/>
                </a:lnTo>
                <a:lnTo>
                  <a:pt x="5785961" y="2813617"/>
                </a:lnTo>
                <a:lnTo>
                  <a:pt x="5785961" y="1917394"/>
                </a:lnTo>
                <a:close/>
                <a:moveTo>
                  <a:pt x="6702056" y="1917394"/>
                </a:moveTo>
                <a:lnTo>
                  <a:pt x="6549245" y="1917394"/>
                </a:lnTo>
                <a:lnTo>
                  <a:pt x="6319384" y="2641622"/>
                </a:lnTo>
                <a:lnTo>
                  <a:pt x="6087719" y="1917394"/>
                </a:lnTo>
                <a:lnTo>
                  <a:pt x="5929754" y="1917394"/>
                </a:lnTo>
                <a:lnTo>
                  <a:pt x="6222492" y="2813617"/>
                </a:lnTo>
                <a:lnTo>
                  <a:pt x="6409319" y="2813617"/>
                </a:lnTo>
                <a:lnTo>
                  <a:pt x="6702056" y="1917394"/>
                </a:lnTo>
                <a:moveTo>
                  <a:pt x="11697676" y="1917394"/>
                </a:moveTo>
                <a:lnTo>
                  <a:pt x="11548472" y="1917394"/>
                </a:lnTo>
                <a:lnTo>
                  <a:pt x="11548472" y="2813617"/>
                </a:lnTo>
                <a:lnTo>
                  <a:pt x="11697676" y="2813617"/>
                </a:lnTo>
                <a:lnTo>
                  <a:pt x="11697676" y="1917394"/>
                </a:lnTo>
                <a:close/>
                <a:moveTo>
                  <a:pt x="12980209" y="1917394"/>
                </a:moveTo>
                <a:lnTo>
                  <a:pt x="12831005" y="1917394"/>
                </a:lnTo>
                <a:lnTo>
                  <a:pt x="12831005" y="2813617"/>
                </a:lnTo>
                <a:lnTo>
                  <a:pt x="12980209" y="2813617"/>
                </a:lnTo>
                <a:lnTo>
                  <a:pt x="12980209" y="1917394"/>
                </a:lnTo>
                <a:close/>
                <a:moveTo>
                  <a:pt x="853219" y="1899397"/>
                </a:moveTo>
                <a:cubicBezTo>
                  <a:pt x="725661" y="1899397"/>
                  <a:pt x="637530" y="1960328"/>
                  <a:pt x="601711" y="2055452"/>
                </a:cubicBezTo>
                <a:lnTo>
                  <a:pt x="601711" y="1917394"/>
                </a:lnTo>
                <a:lnTo>
                  <a:pt x="452507" y="1917394"/>
                </a:lnTo>
                <a:lnTo>
                  <a:pt x="452507" y="2813617"/>
                </a:lnTo>
                <a:lnTo>
                  <a:pt x="601711" y="2813617"/>
                </a:lnTo>
                <a:lnTo>
                  <a:pt x="601711" y="2223847"/>
                </a:lnTo>
                <a:cubicBezTo>
                  <a:pt x="601711" y="2098386"/>
                  <a:pt x="664588" y="2014060"/>
                  <a:pt x="797557" y="2014060"/>
                </a:cubicBezTo>
                <a:cubicBezTo>
                  <a:pt x="928722" y="2014060"/>
                  <a:pt x="991599" y="2098386"/>
                  <a:pt x="991599" y="2223847"/>
                </a:cubicBezTo>
                <a:lnTo>
                  <a:pt x="991599" y="2813617"/>
                </a:lnTo>
                <a:lnTo>
                  <a:pt x="1140803" y="2813617"/>
                </a:lnTo>
                <a:lnTo>
                  <a:pt x="1140803" y="2193511"/>
                </a:lnTo>
                <a:cubicBezTo>
                  <a:pt x="1140803" y="2024858"/>
                  <a:pt x="1034892" y="1899397"/>
                  <a:pt x="853219" y="1899397"/>
                </a:cubicBezTo>
                <a:moveTo>
                  <a:pt x="1756945" y="1899397"/>
                </a:moveTo>
                <a:cubicBezTo>
                  <a:pt x="1629387" y="1899397"/>
                  <a:pt x="1541257" y="1960328"/>
                  <a:pt x="1505437" y="2055452"/>
                </a:cubicBezTo>
                <a:lnTo>
                  <a:pt x="1505437" y="1917394"/>
                </a:lnTo>
                <a:lnTo>
                  <a:pt x="1356234" y="1917394"/>
                </a:lnTo>
                <a:lnTo>
                  <a:pt x="1356234" y="2813617"/>
                </a:lnTo>
                <a:lnTo>
                  <a:pt x="1505437" y="2813617"/>
                </a:lnTo>
                <a:lnTo>
                  <a:pt x="1505437" y="2223847"/>
                </a:lnTo>
                <a:cubicBezTo>
                  <a:pt x="1505437" y="2098386"/>
                  <a:pt x="1568314" y="2014060"/>
                  <a:pt x="1701283" y="2014060"/>
                </a:cubicBezTo>
                <a:cubicBezTo>
                  <a:pt x="1832449" y="2014060"/>
                  <a:pt x="1895326" y="2098386"/>
                  <a:pt x="1895326" y="2223847"/>
                </a:cubicBezTo>
                <a:lnTo>
                  <a:pt x="1895326" y="2813617"/>
                </a:lnTo>
                <a:lnTo>
                  <a:pt x="2044529" y="2813617"/>
                </a:lnTo>
                <a:lnTo>
                  <a:pt x="2044529" y="2193511"/>
                </a:lnTo>
                <a:cubicBezTo>
                  <a:pt x="2044272" y="2024858"/>
                  <a:pt x="1938360" y="1899397"/>
                  <a:pt x="1756945" y="1899397"/>
                </a:cubicBezTo>
                <a:moveTo>
                  <a:pt x="2644179" y="2704353"/>
                </a:moveTo>
                <a:cubicBezTo>
                  <a:pt x="2493171" y="2704353"/>
                  <a:pt x="2389064" y="2596888"/>
                  <a:pt x="2389064" y="2365505"/>
                </a:cubicBezTo>
                <a:cubicBezTo>
                  <a:pt x="2389064" y="2132580"/>
                  <a:pt x="2491367" y="2026658"/>
                  <a:pt x="2644179" y="2026658"/>
                </a:cubicBezTo>
                <a:cubicBezTo>
                  <a:pt x="2795186" y="2026658"/>
                  <a:pt x="2899294" y="2132323"/>
                  <a:pt x="2899294" y="2365505"/>
                </a:cubicBezTo>
                <a:cubicBezTo>
                  <a:pt x="2899294" y="2596631"/>
                  <a:pt x="2798794" y="2704353"/>
                  <a:pt x="2644179" y="2704353"/>
                </a:cubicBezTo>
                <a:moveTo>
                  <a:pt x="2651394" y="1899397"/>
                </a:moveTo>
                <a:cubicBezTo>
                  <a:pt x="2381848" y="1899397"/>
                  <a:pt x="2232902" y="2096587"/>
                  <a:pt x="2232902" y="2376303"/>
                </a:cubicBezTo>
                <a:cubicBezTo>
                  <a:pt x="2232902" y="2659362"/>
                  <a:pt x="2385714" y="2831613"/>
                  <a:pt x="2637221" y="2831613"/>
                </a:cubicBezTo>
                <a:cubicBezTo>
                  <a:pt x="2908571" y="2831613"/>
                  <a:pt x="3055971" y="2634424"/>
                  <a:pt x="3055971" y="2354707"/>
                </a:cubicBezTo>
                <a:cubicBezTo>
                  <a:pt x="3055713" y="2071392"/>
                  <a:pt x="2904706" y="1899397"/>
                  <a:pt x="2651394" y="1899397"/>
                </a:cubicBezTo>
                <a:moveTo>
                  <a:pt x="4365047" y="2723892"/>
                </a:moveTo>
                <a:cubicBezTo>
                  <a:pt x="4262743" y="2723892"/>
                  <a:pt x="4192651" y="2666560"/>
                  <a:pt x="4192651" y="2566294"/>
                </a:cubicBezTo>
                <a:cubicBezTo>
                  <a:pt x="4192651" y="2481968"/>
                  <a:pt x="4241097" y="2440833"/>
                  <a:pt x="4343659" y="2415638"/>
                </a:cubicBezTo>
                <a:lnTo>
                  <a:pt x="4453178" y="2388644"/>
                </a:lnTo>
                <a:cubicBezTo>
                  <a:pt x="4521466" y="2372447"/>
                  <a:pt x="4559089" y="2361649"/>
                  <a:pt x="4573520" y="2349309"/>
                </a:cubicBezTo>
                <a:lnTo>
                  <a:pt x="4573520" y="2523103"/>
                </a:lnTo>
                <a:cubicBezTo>
                  <a:pt x="4573520" y="2655762"/>
                  <a:pt x="4481782" y="2723892"/>
                  <a:pt x="4365047" y="2723892"/>
                </a:cubicBezTo>
                <a:moveTo>
                  <a:pt x="4411947" y="1899397"/>
                </a:moveTo>
                <a:cubicBezTo>
                  <a:pt x="4194455" y="1899397"/>
                  <a:pt x="4059682" y="2030257"/>
                  <a:pt x="4049116" y="2186312"/>
                </a:cubicBezTo>
                <a:lnTo>
                  <a:pt x="4187497" y="2215106"/>
                </a:lnTo>
                <a:cubicBezTo>
                  <a:pt x="4194713" y="2100443"/>
                  <a:pt x="4264805" y="2014317"/>
                  <a:pt x="4401381" y="2014317"/>
                </a:cubicBezTo>
                <a:cubicBezTo>
                  <a:pt x="4516312" y="2014317"/>
                  <a:pt x="4573777" y="2077048"/>
                  <a:pt x="4573777" y="2180913"/>
                </a:cubicBezTo>
                <a:lnTo>
                  <a:pt x="4573777" y="2186312"/>
                </a:lnTo>
                <a:cubicBezTo>
                  <a:pt x="4573777" y="2229246"/>
                  <a:pt x="4561151" y="2247243"/>
                  <a:pt x="4521724" y="2258041"/>
                </a:cubicBezTo>
                <a:lnTo>
                  <a:pt x="4263001" y="2322571"/>
                </a:lnTo>
                <a:cubicBezTo>
                  <a:pt x="4124620" y="2358564"/>
                  <a:pt x="4043705" y="2449831"/>
                  <a:pt x="4043705" y="2577092"/>
                </a:cubicBezTo>
                <a:cubicBezTo>
                  <a:pt x="4043705" y="2738546"/>
                  <a:pt x="4164047" y="2831613"/>
                  <a:pt x="4324074" y="2831613"/>
                </a:cubicBezTo>
                <a:cubicBezTo>
                  <a:pt x="4458847" y="2831613"/>
                  <a:pt x="4548781" y="2767083"/>
                  <a:pt x="4573777" y="2677358"/>
                </a:cubicBezTo>
                <a:cubicBezTo>
                  <a:pt x="4577385" y="2761684"/>
                  <a:pt x="4584600" y="2797420"/>
                  <a:pt x="4591816" y="2813617"/>
                </a:cubicBezTo>
                <a:lnTo>
                  <a:pt x="4744627" y="2813617"/>
                </a:lnTo>
                <a:cubicBezTo>
                  <a:pt x="4728393" y="2767083"/>
                  <a:pt x="4721177" y="2702553"/>
                  <a:pt x="4721177" y="2627225"/>
                </a:cubicBezTo>
                <a:lnTo>
                  <a:pt x="4721177" y="2171915"/>
                </a:lnTo>
                <a:cubicBezTo>
                  <a:pt x="4720920" y="2003519"/>
                  <a:pt x="4603927" y="1899397"/>
                  <a:pt x="4411947" y="1899397"/>
                </a:cubicBezTo>
                <a:moveTo>
                  <a:pt x="6942741" y="2268581"/>
                </a:moveTo>
                <a:cubicBezTo>
                  <a:pt x="6962584" y="2110984"/>
                  <a:pt x="7043241" y="2021259"/>
                  <a:pt x="7185229" y="2021259"/>
                </a:cubicBezTo>
                <a:cubicBezTo>
                  <a:pt x="7320002" y="2021259"/>
                  <a:pt x="7399114" y="2101986"/>
                  <a:pt x="7402721" y="2268581"/>
                </a:cubicBezTo>
                <a:lnTo>
                  <a:pt x="6942741" y="2268581"/>
                </a:lnTo>
                <a:moveTo>
                  <a:pt x="7185229" y="1899397"/>
                </a:moveTo>
                <a:cubicBezTo>
                  <a:pt x="6948153" y="1899397"/>
                  <a:pt x="6782714" y="2065993"/>
                  <a:pt x="6782714" y="2372704"/>
                </a:cubicBezTo>
                <a:cubicBezTo>
                  <a:pt x="6782714" y="2666560"/>
                  <a:pt x="6935525" y="2831613"/>
                  <a:pt x="7185229" y="2831613"/>
                </a:cubicBezTo>
                <a:cubicBezTo>
                  <a:pt x="7390095" y="2831613"/>
                  <a:pt x="7519456" y="2715151"/>
                  <a:pt x="7551667" y="2539557"/>
                </a:cubicBezTo>
                <a:lnTo>
                  <a:pt x="7415091" y="2503821"/>
                </a:lnTo>
                <a:cubicBezTo>
                  <a:pt x="7391641" y="2654477"/>
                  <a:pt x="7310983" y="2706410"/>
                  <a:pt x="7199403" y="2706410"/>
                </a:cubicBezTo>
                <a:cubicBezTo>
                  <a:pt x="7021595" y="2706410"/>
                  <a:pt x="6942484" y="2575550"/>
                  <a:pt x="6937072" y="2374761"/>
                </a:cubicBezTo>
                <a:lnTo>
                  <a:pt x="7553213" y="2374761"/>
                </a:lnTo>
                <a:lnTo>
                  <a:pt x="7553213" y="2324627"/>
                </a:lnTo>
                <a:cubicBezTo>
                  <a:pt x="7553729" y="2010461"/>
                  <a:pt x="7382879" y="1899397"/>
                  <a:pt x="7185229" y="1899397"/>
                </a:cubicBezTo>
                <a:moveTo>
                  <a:pt x="9777354" y="2268581"/>
                </a:moveTo>
                <a:cubicBezTo>
                  <a:pt x="9797197" y="2110984"/>
                  <a:pt x="9877854" y="2021259"/>
                  <a:pt x="10019842" y="2021259"/>
                </a:cubicBezTo>
                <a:cubicBezTo>
                  <a:pt x="10154615" y="2021259"/>
                  <a:pt x="10233727" y="2101986"/>
                  <a:pt x="10237334" y="2268581"/>
                </a:cubicBezTo>
                <a:lnTo>
                  <a:pt x="9777354" y="2268581"/>
                </a:lnTo>
                <a:moveTo>
                  <a:pt x="10019842" y="1899397"/>
                </a:moveTo>
                <a:cubicBezTo>
                  <a:pt x="9782766" y="1899397"/>
                  <a:pt x="9617327" y="2065993"/>
                  <a:pt x="9617327" y="2372704"/>
                </a:cubicBezTo>
                <a:cubicBezTo>
                  <a:pt x="9617327" y="2666560"/>
                  <a:pt x="9770138" y="2831613"/>
                  <a:pt x="10019842" y="2831613"/>
                </a:cubicBezTo>
                <a:cubicBezTo>
                  <a:pt x="10224708" y="2831613"/>
                  <a:pt x="10354069" y="2715151"/>
                  <a:pt x="10386280" y="2539557"/>
                </a:cubicBezTo>
                <a:lnTo>
                  <a:pt x="10249704" y="2503821"/>
                </a:lnTo>
                <a:cubicBezTo>
                  <a:pt x="10226254" y="2654477"/>
                  <a:pt x="10145596" y="2706410"/>
                  <a:pt x="10034016" y="2706410"/>
                </a:cubicBezTo>
                <a:cubicBezTo>
                  <a:pt x="9856207" y="2706410"/>
                  <a:pt x="9777097" y="2575550"/>
                  <a:pt x="9771684" y="2374761"/>
                </a:cubicBezTo>
                <a:lnTo>
                  <a:pt x="10387826" y="2374761"/>
                </a:lnTo>
                <a:lnTo>
                  <a:pt x="10387826" y="2324627"/>
                </a:lnTo>
                <a:cubicBezTo>
                  <a:pt x="10388342" y="2010461"/>
                  <a:pt x="10217492" y="1899397"/>
                  <a:pt x="10019842" y="1899397"/>
                </a:cubicBezTo>
                <a:moveTo>
                  <a:pt x="12299387" y="1899397"/>
                </a:moveTo>
                <a:cubicBezTo>
                  <a:pt x="12053291" y="1899397"/>
                  <a:pt x="11886049" y="2071392"/>
                  <a:pt x="11886049" y="2374503"/>
                </a:cubicBezTo>
                <a:cubicBezTo>
                  <a:pt x="11886049" y="2671959"/>
                  <a:pt x="12049425" y="2831613"/>
                  <a:pt x="12292171" y="2831613"/>
                </a:cubicBezTo>
                <a:cubicBezTo>
                  <a:pt x="12511467" y="2831613"/>
                  <a:pt x="12635417" y="2697154"/>
                  <a:pt x="12660413" y="2512562"/>
                </a:cubicBezTo>
                <a:lnTo>
                  <a:pt x="12518425" y="2478369"/>
                </a:lnTo>
                <a:cubicBezTo>
                  <a:pt x="12493171" y="2646764"/>
                  <a:pt x="12421533" y="2704353"/>
                  <a:pt x="12302736" y="2704353"/>
                </a:cubicBezTo>
                <a:cubicBezTo>
                  <a:pt x="12130340" y="2704353"/>
                  <a:pt x="12042210" y="2578892"/>
                  <a:pt x="12042210" y="2363706"/>
                </a:cubicBezTo>
                <a:cubicBezTo>
                  <a:pt x="12042210" y="2139778"/>
                  <a:pt x="12135494" y="2026658"/>
                  <a:pt x="12295521" y="2026658"/>
                </a:cubicBezTo>
                <a:cubicBezTo>
                  <a:pt x="12408648" y="2026658"/>
                  <a:pt x="12491367" y="2082189"/>
                  <a:pt x="12518167" y="2241844"/>
                </a:cubicBezTo>
                <a:lnTo>
                  <a:pt x="12660156" y="2207908"/>
                </a:lnTo>
                <a:cubicBezTo>
                  <a:pt x="12635417" y="2024858"/>
                  <a:pt x="12511467" y="1899397"/>
                  <a:pt x="12299387" y="1899397"/>
                </a:cubicBezTo>
                <a:moveTo>
                  <a:pt x="13596350" y="1899397"/>
                </a:moveTo>
                <a:cubicBezTo>
                  <a:pt x="13468794" y="1899397"/>
                  <a:pt x="13380662" y="1960328"/>
                  <a:pt x="13344844" y="2055452"/>
                </a:cubicBezTo>
                <a:lnTo>
                  <a:pt x="13344844" y="1917394"/>
                </a:lnTo>
                <a:lnTo>
                  <a:pt x="13195639" y="1917394"/>
                </a:lnTo>
                <a:lnTo>
                  <a:pt x="13195639" y="2813617"/>
                </a:lnTo>
                <a:lnTo>
                  <a:pt x="13344844" y="2813617"/>
                </a:lnTo>
                <a:lnTo>
                  <a:pt x="13344844" y="2223847"/>
                </a:lnTo>
                <a:cubicBezTo>
                  <a:pt x="13344844" y="2098386"/>
                  <a:pt x="13407721" y="2014060"/>
                  <a:pt x="13540690" y="2014060"/>
                </a:cubicBezTo>
                <a:cubicBezTo>
                  <a:pt x="13671856" y="2014060"/>
                  <a:pt x="13734732" y="2098386"/>
                  <a:pt x="13734732" y="2223847"/>
                </a:cubicBezTo>
                <a:lnTo>
                  <a:pt x="13734732" y="2813617"/>
                </a:lnTo>
                <a:lnTo>
                  <a:pt x="13883936" y="2813617"/>
                </a:lnTo>
                <a:lnTo>
                  <a:pt x="13883936" y="2193511"/>
                </a:lnTo>
                <a:cubicBezTo>
                  <a:pt x="13883936" y="2024858"/>
                  <a:pt x="13777767" y="1899397"/>
                  <a:pt x="13596350" y="1899397"/>
                </a:cubicBezTo>
                <a:moveTo>
                  <a:pt x="14232336" y="2268581"/>
                </a:moveTo>
                <a:cubicBezTo>
                  <a:pt x="14252177" y="2110984"/>
                  <a:pt x="14332835" y="2021259"/>
                  <a:pt x="14474823" y="2021259"/>
                </a:cubicBezTo>
                <a:cubicBezTo>
                  <a:pt x="14609596" y="2021259"/>
                  <a:pt x="14688708" y="2101986"/>
                  <a:pt x="14692316" y="2268581"/>
                </a:cubicBezTo>
                <a:lnTo>
                  <a:pt x="14232336" y="2268581"/>
                </a:lnTo>
                <a:moveTo>
                  <a:pt x="14474823" y="1899397"/>
                </a:moveTo>
                <a:cubicBezTo>
                  <a:pt x="14237746" y="1899397"/>
                  <a:pt x="14072308" y="2065993"/>
                  <a:pt x="14072308" y="2372704"/>
                </a:cubicBezTo>
                <a:cubicBezTo>
                  <a:pt x="14072308" y="2666560"/>
                  <a:pt x="14225120" y="2831613"/>
                  <a:pt x="14474823" y="2831613"/>
                </a:cubicBezTo>
                <a:cubicBezTo>
                  <a:pt x="14679689" y="2831613"/>
                  <a:pt x="14809051" y="2715151"/>
                  <a:pt x="14841262" y="2539557"/>
                </a:cubicBezTo>
                <a:lnTo>
                  <a:pt x="14704684" y="2503821"/>
                </a:lnTo>
                <a:cubicBezTo>
                  <a:pt x="14681235" y="2654477"/>
                  <a:pt x="14600577" y="2706410"/>
                  <a:pt x="14488996" y="2706410"/>
                </a:cubicBezTo>
                <a:cubicBezTo>
                  <a:pt x="14311190" y="2706410"/>
                  <a:pt x="14232078" y="2575550"/>
                  <a:pt x="14226666" y="2374761"/>
                </a:cubicBezTo>
                <a:lnTo>
                  <a:pt x="14842809" y="2374761"/>
                </a:lnTo>
                <a:lnTo>
                  <a:pt x="14842809" y="2324627"/>
                </a:lnTo>
                <a:cubicBezTo>
                  <a:pt x="14843065" y="2010461"/>
                  <a:pt x="14672473" y="1899397"/>
                  <a:pt x="14474823" y="1899397"/>
                </a:cubicBezTo>
                <a:moveTo>
                  <a:pt x="5204092" y="1666471"/>
                </a:moveTo>
                <a:lnTo>
                  <a:pt x="5054889" y="1702207"/>
                </a:lnTo>
                <a:lnTo>
                  <a:pt x="5054889" y="1917394"/>
                </a:lnTo>
                <a:lnTo>
                  <a:pt x="4882493" y="1917394"/>
                </a:lnTo>
                <a:lnTo>
                  <a:pt x="4882493" y="2032057"/>
                </a:lnTo>
                <a:lnTo>
                  <a:pt x="5054889" y="2032057"/>
                </a:lnTo>
                <a:lnTo>
                  <a:pt x="5054889" y="2580434"/>
                </a:lnTo>
                <a:cubicBezTo>
                  <a:pt x="5054889" y="2727491"/>
                  <a:pt x="5124981" y="2831356"/>
                  <a:pt x="5300985" y="2831356"/>
                </a:cubicBezTo>
                <a:cubicBezTo>
                  <a:pt x="5389115" y="2831356"/>
                  <a:pt x="5464361" y="2802562"/>
                  <a:pt x="5493223" y="2775824"/>
                </a:cubicBezTo>
                <a:lnTo>
                  <a:pt x="5451992" y="2668360"/>
                </a:lnTo>
                <a:cubicBezTo>
                  <a:pt x="5451992" y="2668360"/>
                  <a:pt x="5398135" y="2705895"/>
                  <a:pt x="5320827" y="2705895"/>
                </a:cubicBezTo>
                <a:cubicBezTo>
                  <a:pt x="5239912" y="2705895"/>
                  <a:pt x="5204092" y="2657562"/>
                  <a:pt x="5204092" y="2557039"/>
                </a:cubicBezTo>
                <a:lnTo>
                  <a:pt x="5204092" y="2032057"/>
                </a:lnTo>
                <a:lnTo>
                  <a:pt x="5470031" y="2032057"/>
                </a:lnTo>
                <a:lnTo>
                  <a:pt x="5470031" y="1917394"/>
                </a:lnTo>
                <a:lnTo>
                  <a:pt x="5204092" y="1917394"/>
                </a:lnTo>
                <a:lnTo>
                  <a:pt x="5204092" y="1666471"/>
                </a:lnTo>
                <a:moveTo>
                  <a:pt x="219296" y="1558750"/>
                </a:moveTo>
                <a:lnTo>
                  <a:pt x="62877" y="1558750"/>
                </a:lnTo>
                <a:lnTo>
                  <a:pt x="62877" y="2813360"/>
                </a:lnTo>
                <a:lnTo>
                  <a:pt x="219296" y="2813360"/>
                </a:lnTo>
                <a:lnTo>
                  <a:pt x="219296" y="1558750"/>
                </a:lnTo>
                <a:close/>
                <a:moveTo>
                  <a:pt x="9411173" y="1558750"/>
                </a:moveTo>
                <a:lnTo>
                  <a:pt x="9174096" y="1558750"/>
                </a:lnTo>
                <a:lnTo>
                  <a:pt x="8802247" y="2569636"/>
                </a:lnTo>
                <a:lnTo>
                  <a:pt x="8428593" y="1558750"/>
                </a:lnTo>
                <a:lnTo>
                  <a:pt x="8180694" y="1558750"/>
                </a:lnTo>
                <a:lnTo>
                  <a:pt x="8180694" y="2813360"/>
                </a:lnTo>
                <a:lnTo>
                  <a:pt x="8337113" y="2813360"/>
                </a:lnTo>
                <a:lnTo>
                  <a:pt x="8337113" y="1732801"/>
                </a:lnTo>
                <a:lnTo>
                  <a:pt x="8737824" y="2813617"/>
                </a:lnTo>
                <a:lnTo>
                  <a:pt x="8858166" y="2813617"/>
                </a:lnTo>
                <a:lnTo>
                  <a:pt x="9255270" y="1731002"/>
                </a:lnTo>
                <a:lnTo>
                  <a:pt x="9255270" y="2813617"/>
                </a:lnTo>
                <a:lnTo>
                  <a:pt x="9411431" y="2813617"/>
                </a:lnTo>
                <a:lnTo>
                  <a:pt x="9411431" y="1558750"/>
                </a:lnTo>
                <a:moveTo>
                  <a:pt x="10941349" y="2704353"/>
                </a:moveTo>
                <a:cubicBezTo>
                  <a:pt x="10793949" y="2704353"/>
                  <a:pt x="10695254" y="2598688"/>
                  <a:pt x="10695254" y="2365505"/>
                </a:cubicBezTo>
                <a:cubicBezTo>
                  <a:pt x="10695254" y="2130780"/>
                  <a:pt x="10794207" y="2026658"/>
                  <a:pt x="10941349" y="2026658"/>
                </a:cubicBezTo>
                <a:cubicBezTo>
                  <a:pt x="11088749" y="2026658"/>
                  <a:pt x="11187445" y="2130523"/>
                  <a:pt x="11187445" y="2365505"/>
                </a:cubicBezTo>
                <a:cubicBezTo>
                  <a:pt x="11187445" y="2598431"/>
                  <a:pt x="11088749" y="2704353"/>
                  <a:pt x="10941349" y="2704353"/>
                </a:cubicBezTo>
                <a:moveTo>
                  <a:pt x="11333042" y="1558750"/>
                </a:moveTo>
                <a:lnTo>
                  <a:pt x="11183838" y="1558750"/>
                </a:lnTo>
                <a:lnTo>
                  <a:pt x="11183838" y="2089388"/>
                </a:lnTo>
                <a:cubicBezTo>
                  <a:pt x="11151368" y="1990665"/>
                  <a:pt x="11072515" y="1899397"/>
                  <a:pt x="10916095" y="1899397"/>
                </a:cubicBezTo>
                <a:cubicBezTo>
                  <a:pt x="10714838" y="1899397"/>
                  <a:pt x="10538834" y="2057252"/>
                  <a:pt x="10538834" y="2370904"/>
                </a:cubicBezTo>
                <a:cubicBezTo>
                  <a:pt x="10538834" y="2688156"/>
                  <a:pt x="10714838" y="2831613"/>
                  <a:pt x="10903469" y="2831613"/>
                </a:cubicBezTo>
                <a:cubicBezTo>
                  <a:pt x="11045457" y="2831613"/>
                  <a:pt x="11149564" y="2749087"/>
                  <a:pt x="11183838" y="2632624"/>
                </a:cubicBezTo>
                <a:lnTo>
                  <a:pt x="11183838" y="2700753"/>
                </a:lnTo>
                <a:cubicBezTo>
                  <a:pt x="11183838" y="2741888"/>
                  <a:pt x="11187445" y="2786879"/>
                  <a:pt x="11192857" y="2813617"/>
                </a:cubicBezTo>
                <a:lnTo>
                  <a:pt x="11343864" y="2813617"/>
                </a:lnTo>
                <a:cubicBezTo>
                  <a:pt x="11336649" y="2770683"/>
                  <a:pt x="11333042" y="2707952"/>
                  <a:pt x="11333042" y="2627225"/>
                </a:cubicBezTo>
                <a:lnTo>
                  <a:pt x="11333042" y="1558750"/>
                </a:lnTo>
                <a:moveTo>
                  <a:pt x="5712261" y="1532012"/>
                </a:moveTo>
                <a:cubicBezTo>
                  <a:pt x="5652992" y="1532012"/>
                  <a:pt x="5606350" y="1578546"/>
                  <a:pt x="5606350" y="1637677"/>
                </a:cubicBezTo>
                <a:cubicBezTo>
                  <a:pt x="5606350" y="1696808"/>
                  <a:pt x="5652992" y="1741542"/>
                  <a:pt x="5712261" y="1741542"/>
                </a:cubicBezTo>
                <a:cubicBezTo>
                  <a:pt x="5771531" y="1741542"/>
                  <a:pt x="5816369" y="1696808"/>
                  <a:pt x="5816369" y="1637677"/>
                </a:cubicBezTo>
                <a:cubicBezTo>
                  <a:pt x="5816627" y="1578546"/>
                  <a:pt x="5771531" y="1532012"/>
                  <a:pt x="5712261" y="1532012"/>
                </a:cubicBezTo>
                <a:moveTo>
                  <a:pt x="11623976" y="1532012"/>
                </a:moveTo>
                <a:cubicBezTo>
                  <a:pt x="11564707" y="1532012"/>
                  <a:pt x="11518064" y="1578546"/>
                  <a:pt x="11518064" y="1637677"/>
                </a:cubicBezTo>
                <a:cubicBezTo>
                  <a:pt x="11518064" y="1696808"/>
                  <a:pt x="11564707" y="1741542"/>
                  <a:pt x="11623976" y="1741542"/>
                </a:cubicBezTo>
                <a:cubicBezTo>
                  <a:pt x="11683245" y="1741542"/>
                  <a:pt x="11728083" y="1696808"/>
                  <a:pt x="11728083" y="1637677"/>
                </a:cubicBezTo>
                <a:cubicBezTo>
                  <a:pt x="11728341" y="1578546"/>
                  <a:pt x="11683245" y="1532012"/>
                  <a:pt x="11623976" y="1532012"/>
                </a:cubicBezTo>
                <a:moveTo>
                  <a:pt x="12906510" y="1532012"/>
                </a:moveTo>
                <a:cubicBezTo>
                  <a:pt x="12847240" y="1532012"/>
                  <a:pt x="12800598" y="1578546"/>
                  <a:pt x="12800598" y="1637677"/>
                </a:cubicBezTo>
                <a:cubicBezTo>
                  <a:pt x="12800598" y="1696808"/>
                  <a:pt x="12847240" y="1741542"/>
                  <a:pt x="12906510" y="1741542"/>
                </a:cubicBezTo>
                <a:cubicBezTo>
                  <a:pt x="12965779" y="1741542"/>
                  <a:pt x="13010617" y="1696808"/>
                  <a:pt x="13010617" y="1637677"/>
                </a:cubicBezTo>
                <a:cubicBezTo>
                  <a:pt x="13010875" y="1578546"/>
                  <a:pt x="12965779" y="1532012"/>
                  <a:pt x="12906510" y="1532012"/>
                </a:cubicBezTo>
              </a:path>
            </a:pathLst>
          </a:custGeom>
          <a:solidFill>
            <a:schemeClr val="tx2"/>
          </a:solidFill>
          <a:ln w="257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9438DBDE-4DA9-CC3F-046F-966BAF274EB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" y="2326538"/>
            <a:ext cx="3357806" cy="2236315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6E3DED-24AB-6DD5-FEDE-43314F9DC5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04257" y="-36156"/>
            <a:ext cx="3995249" cy="2362694"/>
          </a:xfrm>
          <a:solidFill>
            <a:schemeClr val="bg2">
              <a:lumMod val="20000"/>
              <a:lumOff val="80000"/>
            </a:schemeClr>
          </a:solidFill>
          <a:effectLst/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79D7FFB-58D1-7843-C32A-7E1456FBD4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0491" y="487225"/>
            <a:ext cx="7071811" cy="1569276"/>
          </a:xfrm>
        </p:spPr>
        <p:txBody>
          <a:bodyPr wrap="square" anchor="ctr">
            <a:spAutoFit/>
          </a:bodyPr>
          <a:lstStyle>
            <a:lvl1pPr algn="l">
              <a:lnSpc>
                <a:spcPct val="75000"/>
              </a:lnSpc>
              <a:defRPr sz="6600" b="1" i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7989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/Divider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C444F91-0F35-3A7E-D84E-3A8603FFC2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3AFB1EE3-8D47-2ADC-37C3-0D160A4035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  <p:sp>
        <p:nvSpPr>
          <p:cNvPr id="11" name="Graphic 6">
            <a:extLst>
              <a:ext uri="{FF2B5EF4-FFF2-40B4-BE49-F238E27FC236}">
                <a16:creationId xmlns:a16="http://schemas.microsoft.com/office/drawing/2014/main" id="{68BFC76A-2E3C-E6E3-8376-D8A94C33FD3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CDA47FE-4B1A-B9BE-2077-F0A1967B6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6524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/Divid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6">
            <a:extLst>
              <a:ext uri="{FF2B5EF4-FFF2-40B4-BE49-F238E27FC236}">
                <a16:creationId xmlns:a16="http://schemas.microsoft.com/office/drawing/2014/main" id="{9BF92F1C-9A54-B03C-F58F-3EB1591B622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6AB1FF-658F-870D-E3B1-F5E6F3C8A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D4309798-1B74-B800-35DC-1BEBCCB4F3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30625946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/Divider3">
    <p:bg>
      <p:bgPr>
        <a:solidFill>
          <a:srgbClr val="E8E6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6">
            <a:extLst>
              <a:ext uri="{FF2B5EF4-FFF2-40B4-BE49-F238E27FC236}">
                <a16:creationId xmlns:a16="http://schemas.microsoft.com/office/drawing/2014/main" id="{AF0B85A5-9C99-621C-A009-04183FA7920E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6C9EC32-E299-329C-772D-36857B1280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4EE7E17E-6C58-B851-7FBD-141AA52DF2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30509403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A3F492-71E4-8F8E-BA39-DC5E5902EC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7000"/>
          </a:blip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E78AC21-EF77-6B64-B7D6-7757EBFB8096}"/>
              </a:ext>
            </a:extLst>
          </p:cNvPr>
          <p:cNvSpPr/>
          <p:nvPr userDrawn="1"/>
        </p:nvSpPr>
        <p:spPr>
          <a:xfrm rot="10800000">
            <a:off x="0" y="-3568"/>
            <a:ext cx="8001000" cy="6858000"/>
          </a:xfrm>
          <a:prstGeom prst="rect">
            <a:avLst/>
          </a:prstGeom>
          <a:gradFill>
            <a:gsLst>
              <a:gs pos="35000">
                <a:schemeClr val="tx1">
                  <a:alpha val="0"/>
                </a:schemeClr>
              </a:gs>
              <a:gs pos="80000">
                <a:schemeClr val="tx1">
                  <a:alpha val="3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48768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4892429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</a:t>
            </a:r>
            <a:br>
              <a:rPr lang="en-GB"/>
            </a:br>
            <a:r>
              <a:rPr lang="en-GB"/>
              <a:t>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80BB0E6-94C7-6D2D-3841-9EB86FEBE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730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118145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223746-A69C-E525-97DC-515C17670C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72390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</a:t>
            </a:r>
            <a:br>
              <a:rPr lang="en-GB"/>
            </a:br>
            <a:r>
              <a:rPr lang="en-GB"/>
              <a:t>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866D17B-3816-896E-3514-04FFA3550A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2105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C6A0D32-C068-C452-AAA1-0EB675051E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51758"/>
            <a:ext cx="12191491" cy="6909758"/>
          </a:xfrm>
          <a:prstGeom prst="rect">
            <a:avLst/>
          </a:prstGeom>
        </p:spPr>
      </p:pic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183626"/>
            <a:ext cx="4800600" cy="1356653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54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48006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if not needed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00094C0-D496-BE58-6AB6-2C3F4B86B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1519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906"/>
            <a:ext cx="12176760" cy="685509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E78AC21-EF77-6B64-B7D6-7757EBFB8096}"/>
              </a:ext>
            </a:extLst>
          </p:cNvPr>
          <p:cNvSpPr/>
          <p:nvPr userDrawn="1"/>
        </p:nvSpPr>
        <p:spPr>
          <a:xfrm>
            <a:off x="0" y="-2906"/>
            <a:ext cx="11897670" cy="6858000"/>
          </a:xfrm>
          <a:prstGeom prst="rect">
            <a:avLst/>
          </a:prstGeom>
          <a:gradFill>
            <a:gsLst>
              <a:gs pos="59000">
                <a:srgbClr val="F1F6FA">
                  <a:alpha val="0"/>
                </a:srgbClr>
              </a:gs>
              <a:gs pos="98000">
                <a:srgbClr val="F1F6FA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7E47A223-D6FB-DECB-4BE4-0FA622F96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6D0D5153-F894-040B-7142-34B8818AA758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A9D597C-CA2F-0740-C125-CC388D420040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tx1"/>
                </a:solidFill>
                <a:effectLst/>
                <a:latin typeface="+mn-lt"/>
              </a:rPr>
              <a:t>Abstract liquid with molecu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671DA64-F270-65B6-51A5-48009C4756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C68BB8CC-61FD-06CB-2D6D-BA72A9FA5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42906195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title-Molecules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12192"/>
            <a:ext cx="12192000" cy="686090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E57E74-5A53-5E8D-5574-2E761CB44927}"/>
              </a:ext>
            </a:extLst>
          </p:cNvPr>
          <p:cNvSpPr/>
          <p:nvPr userDrawn="1"/>
        </p:nvSpPr>
        <p:spPr>
          <a:xfrm>
            <a:off x="0" y="0"/>
            <a:ext cx="11897670" cy="6858000"/>
          </a:xfrm>
          <a:prstGeom prst="rect">
            <a:avLst/>
          </a:prstGeom>
          <a:gradFill>
            <a:gsLst>
              <a:gs pos="59000">
                <a:schemeClr val="bg2">
                  <a:lumMod val="25000"/>
                  <a:alpha val="0"/>
                </a:schemeClr>
              </a:gs>
              <a:gs pos="99000">
                <a:schemeClr val="tx1"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BCB70EC-80F8-0C66-2F5E-BAA70A9DA4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Graphic 6">
            <a:extLst>
              <a:ext uri="{FF2B5EF4-FFF2-40B4-BE49-F238E27FC236}">
                <a16:creationId xmlns:a16="http://schemas.microsoft.com/office/drawing/2014/main" id="{F03F06C7-0615-B9DA-3DDF-8F08829AB9D0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2EDFB14-B557-BEFC-D276-810620AA9FEF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bg1"/>
                </a:solidFill>
                <a:effectLst/>
                <a:latin typeface="+mn-lt"/>
              </a:rPr>
              <a:t>DNA molecu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EAFCF4D-3E46-DC18-A504-A3EF0023D1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5274DD72-E107-49EC-82C0-DEF1241ADB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412334735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title-Molecules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8D35-F45A-9A47-732C-3533D5C736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6861"/>
          <a:stretch/>
        </p:blipFill>
        <p:spPr>
          <a:xfrm>
            <a:off x="0" y="0"/>
            <a:ext cx="12192000" cy="6860906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C5E7A1F-016D-EC41-7994-8CCC0A9E4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FCBADC23-CE83-11C6-9C93-880ADE4015A3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4F7F30-0D59-3EFA-5154-91B461DA6077}"/>
              </a:ext>
            </a:extLst>
          </p:cNvPr>
          <p:cNvSpPr txBox="1"/>
          <p:nvPr userDrawn="1"/>
        </p:nvSpPr>
        <p:spPr>
          <a:xfrm>
            <a:off x="4114800" y="6367402"/>
            <a:ext cx="60979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>
                <a:solidFill>
                  <a:schemeClr val="bg1"/>
                </a:solidFill>
                <a:effectLst/>
                <a:latin typeface="+mn-lt"/>
              </a:rPr>
              <a:t>DNA Microscopic red blood cel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D7833DC-DE9D-A69A-8447-8C87DEDA0F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4800" y="2032879"/>
            <a:ext cx="7239000" cy="1507400"/>
          </a:xfrm>
        </p:spPr>
        <p:txBody>
          <a:bodyPr wrap="square" anchor="b">
            <a:spAutoFit/>
          </a:bodyPr>
          <a:lstStyle>
            <a:lvl1pPr algn="l">
              <a:lnSpc>
                <a:spcPct val="80000"/>
              </a:lnSpc>
              <a:defRPr sz="6000" b="1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ection title</a:t>
            </a:r>
            <a:endParaRPr lang="en-GB"/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E268D709-8000-7310-700E-BAAB597252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02420"/>
            <a:ext cx="7262200" cy="71718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ubtitle text – can be deleted </a:t>
            </a:r>
            <a:br>
              <a:rPr lang="en-GB"/>
            </a:br>
            <a:r>
              <a:rPr lang="en-GB"/>
              <a:t>if not needed</a:t>
            </a:r>
          </a:p>
        </p:txBody>
      </p:sp>
    </p:spTree>
    <p:extLst>
      <p:ext uri="{BB962C8B-B14F-4D97-AF65-F5344CB8AC3E}">
        <p14:creationId xmlns:p14="http://schemas.microsoft.com/office/powerpoint/2010/main" val="41256938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0578" y="14967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70578" y="19888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70578" y="24162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0578" y="29083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70578" y="331542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0578" y="380746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70578" y="42272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0578" y="47193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70578" y="51467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0578" y="56388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25A7DF7-2BB4-8AA8-B2A3-9DD4ACD2CC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39709" y="14967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6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911E195-B53E-E670-62A8-2283A8549F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9709" y="19888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5875A66-7E2B-3669-478E-433347241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9709" y="24162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7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BC0C1FC1-6402-F99B-CE34-CAA4F1068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39709" y="29083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65BF8C7C-40E7-6AFF-9E87-15CB2B34CE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39709" y="331542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8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5783648-46A6-0DE3-E939-D5C3CE9945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639709" y="380746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978D1D45-2BBC-9781-D540-F6C2AB6F9F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39709" y="422728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9CE82453-5E45-157F-1CBD-DF547CF489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39709" y="471932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25A3734C-7591-F6B3-B440-7DF14C9EFF1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39709" y="5146766"/>
            <a:ext cx="410067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0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40673385-9822-BBFB-B941-779D692BD3B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39709" y="5638800"/>
            <a:ext cx="410067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Agenda 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85181A69-ADE9-AF9F-9C5C-C5623E9D24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1418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D21F9DCC-8820-465C-9BCD-2B635D70D0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1418" y="242515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Text Placeholder 11">
            <a:extLst>
              <a:ext uri="{FF2B5EF4-FFF2-40B4-BE49-F238E27FC236}">
                <a16:creationId xmlns:a16="http://schemas.microsoft.com/office/drawing/2014/main" id="{17EB7968-3C4E-8400-7C22-9F3124F9A9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1418" y="332431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B65A68A6-236E-BF44-8E95-79A8FC4EA4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1418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27B7B861-660F-05FA-B99A-199397E1F95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418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5ACE5FF1-6816-8E9E-42A0-08B468B723F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7443" y="150567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65" name="Text Placeholder 11">
            <a:extLst>
              <a:ext uri="{FF2B5EF4-FFF2-40B4-BE49-F238E27FC236}">
                <a16:creationId xmlns:a16="http://schemas.microsoft.com/office/drawing/2014/main" id="{655F1736-87DB-68B4-73B5-747D4A0CB9A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77443" y="242515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66" name="Text Placeholder 11">
            <a:extLst>
              <a:ext uri="{FF2B5EF4-FFF2-40B4-BE49-F238E27FC236}">
                <a16:creationId xmlns:a16="http://schemas.microsoft.com/office/drawing/2014/main" id="{75442D3A-515A-DC7A-E89A-CB49644D8C8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77443" y="332431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67" name="Text Placeholder 11">
            <a:extLst>
              <a:ext uri="{FF2B5EF4-FFF2-40B4-BE49-F238E27FC236}">
                <a16:creationId xmlns:a16="http://schemas.microsoft.com/office/drawing/2014/main" id="{76CB0B43-A1C7-139A-E39C-54002DB51F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777443" y="423617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68" name="Text Placeholder 11">
            <a:extLst>
              <a:ext uri="{FF2B5EF4-FFF2-40B4-BE49-F238E27FC236}">
                <a16:creationId xmlns:a16="http://schemas.microsoft.com/office/drawing/2014/main" id="{F33C6B49-C632-691B-0550-F43EA5888D4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77443" y="51556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7333709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672" y="149678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E5E8ACE-89D7-7E5A-5AF6-923864EE64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37512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6672" y="198882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6672" y="241626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FBBDC273-150E-1234-1FC9-D7710D1A4D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7512" y="24251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6672" y="290830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6672" y="331542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29D2EC7B-B3A2-C7BC-7989-1A21D467A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37512" y="332431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6672" y="380746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6672" y="422728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DD0488CB-385E-1E2D-D4B9-D8D2870B7F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7512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6672" y="471932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6672" y="5146766"/>
            <a:ext cx="5512611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75F73961-3821-6383-AEF7-28E758CC6C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37512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6672" y="5638800"/>
            <a:ext cx="5512611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7162" y="368592"/>
            <a:ext cx="6435226" cy="468590"/>
          </a:xfrm>
        </p:spPr>
        <p:txBody>
          <a:bodyPr anchor="b"/>
          <a:lstStyle/>
          <a:p>
            <a:r>
              <a:rPr lang="en-US"/>
              <a:t>Agenda with image 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5277161" y="819945"/>
            <a:ext cx="6438775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E6B0AE9-E62A-7D03-1CA2-04D272313F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6858001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5EE2984E-C6B4-E19C-9265-085291608FAF}"/>
              </a:ext>
            </a:extLst>
          </p:cNvPr>
          <p:cNvSpPr>
            <a:spLocks noChangeAspect="1"/>
          </p:cNvSpPr>
          <p:nvPr userDrawn="1"/>
        </p:nvSpPr>
        <p:spPr>
          <a:xfrm>
            <a:off x="5344396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9263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3E9E92-04FA-DAFE-4566-6A71B481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0C14FC-2DAE-2C30-4931-052832E511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0578" y="149678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 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E5E8ACE-89D7-7E5A-5AF6-923864EE64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1418" y="150567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E6DAD72-8B81-7EE0-0D77-A0D958A16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70578" y="198882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9D3EBE6-B6A3-B465-4F3D-0ABE1B742D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70578" y="241626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FBBDC273-150E-1234-1FC9-D7710D1A4D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1418" y="242515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219139C-0B20-7E64-FE80-03DF378742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0578" y="290830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20FAC107-4CAD-7488-A61C-4AB947EC50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70578" y="331542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29D2EC7B-B3A2-C7BC-7989-1A21D467A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1418" y="332431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286A7536-BC8E-85BF-5D27-8D1A72C637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0578" y="380746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3D2CBAC7-AEAA-78B1-0046-E86DDAAE33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70578" y="422728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DD0488CB-385E-1E2D-D4B9-D8D2870B7F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1418" y="423617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517E56E1-2EE6-118F-52E6-DF56F74268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0578" y="471932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36B744B5-A021-0BF4-1642-D3671B8875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70578" y="5146766"/>
            <a:ext cx="3925857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5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75F73961-3821-6383-AEF7-28E758CC6C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418" y="515565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FE997AA0-F9C4-18F7-5F00-17A774A4F0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0578" y="5638800"/>
            <a:ext cx="3925857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25A7DF7-2BB4-8AA8-B2A3-9DD4ACD2CC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23801" y="149678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6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9CC4C6-7049-9B67-C270-1CDF3BE52E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34642" y="150567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911E195-B53E-E670-62A8-2283A8549F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23801" y="198882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5875A66-7E2B-3669-478E-433347241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23801" y="241626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7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3B9D43A-A246-F9BC-C453-594C14AD93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4642" y="2425156"/>
            <a:ext cx="692150" cy="6921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BC0C1FC1-6402-F99B-CE34-CAA4F1068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123801" y="290830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65BF8C7C-40E7-6AFF-9E87-15CB2B34CE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23801" y="331542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8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4EF4EBBE-3E01-91F8-C62C-7FB12B322D7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4642" y="3324316"/>
            <a:ext cx="692150" cy="692150"/>
          </a:xfrm>
          <a:prstGeom prst="rect">
            <a:avLst/>
          </a:prstGeom>
          <a:solidFill>
            <a:schemeClr val="tx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5783648-46A6-0DE3-E939-D5C3CE9945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23801" y="380746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978D1D45-2BBC-9781-D540-F6C2AB6F9F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23801" y="422728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9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548E704-5D6A-95F2-6E90-9AC63FD1E3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34642" y="4236176"/>
            <a:ext cx="692150" cy="692150"/>
          </a:xfrm>
          <a:prstGeom prst="rect">
            <a:avLst/>
          </a:prstGeom>
          <a:solidFill>
            <a:schemeClr val="tx1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9CE82453-5E45-157F-1CBD-DF547CF489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23801" y="471932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25A3734C-7591-F6B3-B440-7DF14C9EFF1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23801" y="5146766"/>
            <a:ext cx="3956575" cy="40878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Topic 10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E7A26887-0CBE-13BE-E5D0-883C4D7ED91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4642" y="5155656"/>
            <a:ext cx="692150" cy="692150"/>
          </a:xfrm>
          <a:prstGeom prst="rect">
            <a:avLst/>
          </a:prstGeom>
          <a:solidFill>
            <a:schemeClr val="bg2"/>
          </a:solidFill>
          <a:effectLst/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40673385-9822-BBFB-B941-779D692BD3B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23801" y="5638800"/>
            <a:ext cx="3956575" cy="266700"/>
          </a:xfrm>
        </p:spPr>
        <p:txBody>
          <a:bodyPr anchor="t"/>
          <a:lstStyle>
            <a:lvl1pPr marL="0" indent="0">
              <a:buNone/>
              <a:defRPr sz="1500" b="0"/>
            </a:lvl1pPr>
          </a:lstStyle>
          <a:p>
            <a:pPr lvl="0"/>
            <a:r>
              <a:rPr lang="en-US"/>
              <a:t>Time and description loca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1B2744-7B04-3C96-1740-57E46A71C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Table of contents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FD40F1CA-DC9D-0FB4-F23F-6E7972558E3B}"/>
              </a:ext>
            </a:extLst>
          </p:cNvPr>
          <p:cNvSpPr>
            <a:spLocks noGrp="1"/>
          </p:cNvSpPr>
          <p:nvPr>
            <p:ph type="subTitle" idx="47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CCF7DB6C-9094-E5D9-1D05-0196482C70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251884" y="1418011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0170118B-0FF1-DBA0-24BC-14F82A3D37F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251884" y="2339788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3AC2F8AF-3994-4D53-82C6-5AFD55D56C6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51884" y="3249706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3B380E28-37B4-A444-F064-342C38B36B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251884" y="41506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9CC69491-CB60-11B2-A157-AAC5255431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51884" y="50650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B9CF33B0-2228-E0E1-A0B6-1145416D485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1147613" y="1418011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1" name="Text Placeholder 11">
            <a:extLst>
              <a:ext uri="{FF2B5EF4-FFF2-40B4-BE49-F238E27FC236}">
                <a16:creationId xmlns:a16="http://schemas.microsoft.com/office/drawing/2014/main" id="{6E383CA7-5444-4A0C-7F1F-844387471D1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147613" y="2339788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A07875B0-7910-A03A-DC90-E6E69A64C29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1147613" y="3249706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2582E337-53E1-FFCC-9BDF-C2F9421D221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147613" y="41506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5A9FDE1A-33A9-BBBD-C811-057494648A9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147613" y="5065059"/>
            <a:ext cx="658367" cy="490538"/>
          </a:xfrm>
        </p:spPr>
        <p:txBody>
          <a:bodyPr anchor="b"/>
          <a:lstStyle>
            <a:lvl1pPr marL="0" indent="0">
              <a:buNone/>
              <a:defRPr sz="2000" b="0"/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6901523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14815-4091-68A3-E757-BBBCFE258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368592"/>
            <a:ext cx="9649446" cy="468590"/>
          </a:xfrm>
        </p:spPr>
        <p:txBody>
          <a:bodyPr anchor="b"/>
          <a:lstStyle/>
          <a:p>
            <a:r>
              <a:rPr lang="en-US"/>
              <a:t>Content slide-bulle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8A1EB-51B0-F1BD-E581-C715DE73B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17FD4-4140-CD43-8431-8172E19E55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D914B08B-E3EC-5B6C-52D7-394475A4A1DA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726C4AD-8F81-6EAE-E2A0-4C2A2EAC376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288302" y="819945"/>
            <a:ext cx="9654768" cy="390620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Click to edit subtitl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D1CE92-80F6-BCB5-D5A8-3DC9872407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86" y="1682750"/>
            <a:ext cx="11590552" cy="4602720"/>
          </a:xfrm>
        </p:spPr>
        <p:txBody>
          <a:bodyPr/>
          <a:lstStyle>
            <a:lvl2pPr marL="285750" indent="-285750">
              <a:buFont typeface="Wingdings" pitchFamily="2" charset="2"/>
              <a:buChar char="§"/>
              <a:defRPr/>
            </a:lvl2pPr>
            <a:lvl3pPr marL="571500" indent="-285750">
              <a:buFont typeface="Arial" panose="020B0604020202020204" pitchFamily="34" charset="0"/>
              <a:buChar char="−"/>
              <a:defRPr/>
            </a:lvl3pPr>
            <a:lvl4pPr marL="863600" indent="-285750"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59575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Callou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2111745"/>
            <a:ext cx="11612563" cy="2251249"/>
          </a:xfrm>
        </p:spPr>
        <p:txBody>
          <a:bodyPr anchor="ctr"/>
          <a:lstStyle>
            <a:lvl1pPr>
              <a:lnSpc>
                <a:spcPct val="80000"/>
              </a:lnSpc>
              <a:defRPr sz="7400" b="0" i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Key point call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AF6FE718-6D5F-8DC1-A5A7-D143A261CF0C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bg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761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0.xml"/><Relationship Id="rId44" Type="http://schemas.openxmlformats.org/officeDocument/2006/relationships/slideLayout" Target="../slideLayouts/slideLayout53.xml"/><Relationship Id="rId52" Type="http://schemas.openxmlformats.org/officeDocument/2006/relationships/image" Target="../media/image3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8" Type="http://schemas.openxmlformats.org/officeDocument/2006/relationships/slideLayout" Target="../slideLayouts/slideLayout17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50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63" Type="http://schemas.openxmlformats.org/officeDocument/2006/relationships/slideLayout" Target="../slideLayouts/slideLayout120.xml"/><Relationship Id="rId68" Type="http://schemas.openxmlformats.org/officeDocument/2006/relationships/slideLayout" Target="../slideLayouts/slideLayout125.xml"/><Relationship Id="rId84" Type="http://schemas.openxmlformats.org/officeDocument/2006/relationships/theme" Target="../theme/theme3.xml"/><Relationship Id="rId1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53" Type="http://schemas.openxmlformats.org/officeDocument/2006/relationships/slideLayout" Target="../slideLayouts/slideLayout110.xml"/><Relationship Id="rId58" Type="http://schemas.openxmlformats.org/officeDocument/2006/relationships/slideLayout" Target="../slideLayouts/slideLayout115.xml"/><Relationship Id="rId74" Type="http://schemas.openxmlformats.org/officeDocument/2006/relationships/slideLayout" Target="../slideLayouts/slideLayout131.xml"/><Relationship Id="rId79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62.xml"/><Relationship Id="rId61" Type="http://schemas.openxmlformats.org/officeDocument/2006/relationships/slideLayout" Target="../slideLayouts/slideLayout118.xml"/><Relationship Id="rId82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64" Type="http://schemas.openxmlformats.org/officeDocument/2006/relationships/slideLayout" Target="../slideLayouts/slideLayout121.xml"/><Relationship Id="rId69" Type="http://schemas.openxmlformats.org/officeDocument/2006/relationships/slideLayout" Target="../slideLayouts/slideLayout126.xml"/><Relationship Id="rId77" Type="http://schemas.openxmlformats.org/officeDocument/2006/relationships/slideLayout" Target="../slideLayouts/slideLayout134.xml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72" Type="http://schemas.openxmlformats.org/officeDocument/2006/relationships/slideLayout" Target="../slideLayouts/slideLayout129.xml"/><Relationship Id="rId80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59" Type="http://schemas.openxmlformats.org/officeDocument/2006/relationships/slideLayout" Target="../slideLayouts/slideLayout116.xml"/><Relationship Id="rId67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62" Type="http://schemas.openxmlformats.org/officeDocument/2006/relationships/slideLayout" Target="../slideLayouts/slideLayout119.xml"/><Relationship Id="rId70" Type="http://schemas.openxmlformats.org/officeDocument/2006/relationships/slideLayout" Target="../slideLayouts/slideLayout127.xml"/><Relationship Id="rId75" Type="http://schemas.openxmlformats.org/officeDocument/2006/relationships/slideLayout" Target="../slideLayouts/slideLayout132.xml"/><Relationship Id="rId83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60" Type="http://schemas.openxmlformats.org/officeDocument/2006/relationships/slideLayout" Target="../slideLayouts/slideLayout117.xml"/><Relationship Id="rId65" Type="http://schemas.openxmlformats.org/officeDocument/2006/relationships/slideLayout" Target="../slideLayouts/slideLayout122.xml"/><Relationship Id="rId73" Type="http://schemas.openxmlformats.org/officeDocument/2006/relationships/slideLayout" Target="../slideLayouts/slideLayout130.xml"/><Relationship Id="rId78" Type="http://schemas.openxmlformats.org/officeDocument/2006/relationships/slideLayout" Target="../slideLayouts/slideLayout135.xml"/><Relationship Id="rId8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76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64.xml"/><Relationship Id="rId71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66" Type="http://schemas.openxmlformats.org/officeDocument/2006/relationships/slideLayout" Target="../slideLayouts/slideLayout1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06875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Graphic 6">
            <a:extLst>
              <a:ext uri="{FF2B5EF4-FFF2-40B4-BE49-F238E27FC236}">
                <a16:creationId xmlns:a16="http://schemas.microsoft.com/office/drawing/2014/main" id="{D8501B10-E215-77C3-0C2E-49F954703C65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accent1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5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853" r:id="rId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5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7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46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5C7FC84-E03B-D9F1-D4F7-049306BAB0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3415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6" progId="TCLayout.ActiveDocument.1">
                  <p:embed/>
                </p:oleObj>
              </mc:Choice>
              <mc:Fallback>
                <p:oleObj name="think-cell Slide" r:id="rId51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C7FC84-E03B-D9F1-D4F7-049306BAB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819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06875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Graphic 6">
            <a:extLst>
              <a:ext uri="{FF2B5EF4-FFF2-40B4-BE49-F238E27FC236}">
                <a16:creationId xmlns:a16="http://schemas.microsoft.com/office/drawing/2014/main" id="{32861293-B672-0F2F-9A0D-9D3AC42C07E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6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0" r:id="rId31"/>
    <p:sldLayoutId id="2147483701" r:id="rId32"/>
    <p:sldLayoutId id="2147483702" r:id="rId33"/>
    <p:sldLayoutId id="2147483703" r:id="rId34"/>
    <p:sldLayoutId id="2147483704" r:id="rId35"/>
    <p:sldLayoutId id="2147483705" r:id="rId36"/>
    <p:sldLayoutId id="2147483706" r:id="rId37"/>
    <p:sldLayoutId id="2147483707" r:id="rId38"/>
    <p:sldLayoutId id="2147483708" r:id="rId39"/>
    <p:sldLayoutId id="2147483709" r:id="rId40"/>
    <p:sldLayoutId id="2147483710" r:id="rId41"/>
    <p:sldLayoutId id="2147483711" r:id="rId42"/>
    <p:sldLayoutId id="2147483712" r:id="rId43"/>
    <p:sldLayoutId id="2147483713" r:id="rId44"/>
    <p:sldLayoutId id="2147483714" r:id="rId45"/>
    <p:sldLayoutId id="2147483715" r:id="rId46"/>
    <p:sldLayoutId id="2147483716" r:id="rId47"/>
    <p:sldLayoutId id="2147483717" r:id="rId48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6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tabLst/>
        <a:defRPr sz="18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636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−"/>
        <a:tabLst/>
        <a:defRPr lang="en-US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25" pos="7496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52">
          <p15:clr>
            <a:srgbClr val="F26B43"/>
          </p15:clr>
        </p15:guide>
        <p15:guide id="39" orient="horz" pos="73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06875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Graphic 6">
            <a:extLst>
              <a:ext uri="{FF2B5EF4-FFF2-40B4-BE49-F238E27FC236}">
                <a16:creationId xmlns:a16="http://schemas.microsoft.com/office/drawing/2014/main" id="{32861293-B672-0F2F-9A0D-9D3AC42C07E7}"/>
              </a:ext>
            </a:extLst>
          </p:cNvPr>
          <p:cNvSpPr>
            <a:spLocks noChangeAspect="1"/>
          </p:cNvSpPr>
          <p:nvPr userDrawn="1"/>
        </p:nvSpPr>
        <p:spPr>
          <a:xfrm>
            <a:off x="288303" y="6416713"/>
            <a:ext cx="2102687" cy="147600"/>
          </a:xfrm>
          <a:custGeom>
            <a:avLst/>
            <a:gdLst>
              <a:gd name="connsiteX0" fmla="*/ 4672481 w 11413077"/>
              <a:gd name="connsiteY0" fmla="*/ 236351 h 801151"/>
              <a:gd name="connsiteX1" fmla="*/ 4578324 w 11413077"/>
              <a:gd name="connsiteY1" fmla="*/ 236351 h 801151"/>
              <a:gd name="connsiteX2" fmla="*/ 4436614 w 11413077"/>
              <a:gd name="connsiteY2" fmla="*/ 678512 h 801151"/>
              <a:gd name="connsiteX3" fmla="*/ 4293794 w 11413077"/>
              <a:gd name="connsiteY3" fmla="*/ 236351 h 801151"/>
              <a:gd name="connsiteX4" fmla="*/ 4196308 w 11413077"/>
              <a:gd name="connsiteY4" fmla="*/ 236351 h 801151"/>
              <a:gd name="connsiteX5" fmla="*/ 4376855 w 11413077"/>
              <a:gd name="connsiteY5" fmla="*/ 783609 h 801151"/>
              <a:gd name="connsiteX6" fmla="*/ 4492093 w 11413077"/>
              <a:gd name="connsiteY6" fmla="*/ 783609 h 801151"/>
              <a:gd name="connsiteX7" fmla="*/ 4672481 w 11413077"/>
              <a:gd name="connsiteY7" fmla="*/ 236351 h 801151"/>
              <a:gd name="connsiteX8" fmla="*/ 5829624 w 11413077"/>
              <a:gd name="connsiteY8" fmla="*/ 236351 h 801151"/>
              <a:gd name="connsiteX9" fmla="*/ 5737687 w 11413077"/>
              <a:gd name="connsiteY9" fmla="*/ 236351 h 801151"/>
              <a:gd name="connsiteX10" fmla="*/ 5737687 w 11413077"/>
              <a:gd name="connsiteY10" fmla="*/ 783609 h 801151"/>
              <a:gd name="connsiteX11" fmla="*/ 5829624 w 11413077"/>
              <a:gd name="connsiteY11" fmla="*/ 783609 h 801151"/>
              <a:gd name="connsiteX12" fmla="*/ 5829624 w 11413077"/>
              <a:gd name="connsiteY12" fmla="*/ 236351 h 801151"/>
              <a:gd name="connsiteX13" fmla="*/ 6394405 w 11413077"/>
              <a:gd name="connsiteY13" fmla="*/ 236351 h 801151"/>
              <a:gd name="connsiteX14" fmla="*/ 6300249 w 11413077"/>
              <a:gd name="connsiteY14" fmla="*/ 236351 h 801151"/>
              <a:gd name="connsiteX15" fmla="*/ 6158538 w 11413077"/>
              <a:gd name="connsiteY15" fmla="*/ 678512 h 801151"/>
              <a:gd name="connsiteX16" fmla="*/ 6015718 w 11413077"/>
              <a:gd name="connsiteY16" fmla="*/ 236351 h 801151"/>
              <a:gd name="connsiteX17" fmla="*/ 5918233 w 11413077"/>
              <a:gd name="connsiteY17" fmla="*/ 236351 h 801151"/>
              <a:gd name="connsiteX18" fmla="*/ 6098779 w 11413077"/>
              <a:gd name="connsiteY18" fmla="*/ 783609 h 801151"/>
              <a:gd name="connsiteX19" fmla="*/ 6214018 w 11413077"/>
              <a:gd name="connsiteY19" fmla="*/ 783609 h 801151"/>
              <a:gd name="connsiteX20" fmla="*/ 6394405 w 11413077"/>
              <a:gd name="connsiteY20" fmla="*/ 236351 h 801151"/>
              <a:gd name="connsiteX21" fmla="*/ 9473991 w 11413077"/>
              <a:gd name="connsiteY21" fmla="*/ 236351 h 801151"/>
              <a:gd name="connsiteX22" fmla="*/ 9382053 w 11413077"/>
              <a:gd name="connsiteY22" fmla="*/ 236351 h 801151"/>
              <a:gd name="connsiteX23" fmla="*/ 9382053 w 11413077"/>
              <a:gd name="connsiteY23" fmla="*/ 783609 h 801151"/>
              <a:gd name="connsiteX24" fmla="*/ 9473991 w 11413077"/>
              <a:gd name="connsiteY24" fmla="*/ 783609 h 801151"/>
              <a:gd name="connsiteX25" fmla="*/ 9473991 w 11413077"/>
              <a:gd name="connsiteY25" fmla="*/ 236351 h 801151"/>
              <a:gd name="connsiteX26" fmla="*/ 10264494 w 11413077"/>
              <a:gd name="connsiteY26" fmla="*/ 236351 h 801151"/>
              <a:gd name="connsiteX27" fmla="*/ 10172556 w 11413077"/>
              <a:gd name="connsiteY27" fmla="*/ 236351 h 801151"/>
              <a:gd name="connsiteX28" fmla="*/ 10172556 w 11413077"/>
              <a:gd name="connsiteY28" fmla="*/ 783609 h 801151"/>
              <a:gd name="connsiteX29" fmla="*/ 10264494 w 11413077"/>
              <a:gd name="connsiteY29" fmla="*/ 783609 h 801151"/>
              <a:gd name="connsiteX30" fmla="*/ 10264494 w 11413077"/>
              <a:gd name="connsiteY30" fmla="*/ 236351 h 801151"/>
              <a:gd name="connsiteX31" fmla="*/ 2788874 w 11413077"/>
              <a:gd name="connsiteY31" fmla="*/ 225387 h 801151"/>
              <a:gd name="connsiteX32" fmla="*/ 2633848 w 11413077"/>
              <a:gd name="connsiteY32" fmla="*/ 320617 h 801151"/>
              <a:gd name="connsiteX33" fmla="*/ 2633848 w 11413077"/>
              <a:gd name="connsiteY33" fmla="*/ 236351 h 801151"/>
              <a:gd name="connsiteX34" fmla="*/ 2541911 w 11413077"/>
              <a:gd name="connsiteY34" fmla="*/ 236351 h 801151"/>
              <a:gd name="connsiteX35" fmla="*/ 2541911 w 11413077"/>
              <a:gd name="connsiteY35" fmla="*/ 783609 h 801151"/>
              <a:gd name="connsiteX36" fmla="*/ 2633848 w 11413077"/>
              <a:gd name="connsiteY36" fmla="*/ 783609 h 801151"/>
              <a:gd name="connsiteX37" fmla="*/ 2633848 w 11413077"/>
              <a:gd name="connsiteY37" fmla="*/ 423522 h 801151"/>
              <a:gd name="connsiteX38" fmla="*/ 2754635 w 11413077"/>
              <a:gd name="connsiteY38" fmla="*/ 295557 h 801151"/>
              <a:gd name="connsiteX39" fmla="*/ 2874312 w 11413077"/>
              <a:gd name="connsiteY39" fmla="*/ 423522 h 801151"/>
              <a:gd name="connsiteX40" fmla="*/ 2874312 w 11413077"/>
              <a:gd name="connsiteY40" fmla="*/ 783609 h 801151"/>
              <a:gd name="connsiteX41" fmla="*/ 2966249 w 11413077"/>
              <a:gd name="connsiteY41" fmla="*/ 783609 h 801151"/>
              <a:gd name="connsiteX42" fmla="*/ 2966249 w 11413077"/>
              <a:gd name="connsiteY42" fmla="*/ 404883 h 801151"/>
              <a:gd name="connsiteX43" fmla="*/ 2788874 w 11413077"/>
              <a:gd name="connsiteY43" fmla="*/ 225387 h 801151"/>
              <a:gd name="connsiteX44" fmla="*/ 3345887 w 11413077"/>
              <a:gd name="connsiteY44" fmla="*/ 225387 h 801151"/>
              <a:gd name="connsiteX45" fmla="*/ 3190862 w 11413077"/>
              <a:gd name="connsiteY45" fmla="*/ 320617 h 801151"/>
              <a:gd name="connsiteX46" fmla="*/ 3190862 w 11413077"/>
              <a:gd name="connsiteY46" fmla="*/ 236351 h 801151"/>
              <a:gd name="connsiteX47" fmla="*/ 3098925 w 11413077"/>
              <a:gd name="connsiteY47" fmla="*/ 236351 h 801151"/>
              <a:gd name="connsiteX48" fmla="*/ 3098925 w 11413077"/>
              <a:gd name="connsiteY48" fmla="*/ 783609 h 801151"/>
              <a:gd name="connsiteX49" fmla="*/ 3190862 w 11413077"/>
              <a:gd name="connsiteY49" fmla="*/ 783609 h 801151"/>
              <a:gd name="connsiteX50" fmla="*/ 3190862 w 11413077"/>
              <a:gd name="connsiteY50" fmla="*/ 423522 h 801151"/>
              <a:gd name="connsiteX51" fmla="*/ 3311649 w 11413077"/>
              <a:gd name="connsiteY51" fmla="*/ 295557 h 801151"/>
              <a:gd name="connsiteX52" fmla="*/ 3431326 w 11413077"/>
              <a:gd name="connsiteY52" fmla="*/ 423522 h 801151"/>
              <a:gd name="connsiteX53" fmla="*/ 3431326 w 11413077"/>
              <a:gd name="connsiteY53" fmla="*/ 783609 h 801151"/>
              <a:gd name="connsiteX54" fmla="*/ 3523263 w 11413077"/>
              <a:gd name="connsiteY54" fmla="*/ 783609 h 801151"/>
              <a:gd name="connsiteX55" fmla="*/ 3523263 w 11413077"/>
              <a:gd name="connsiteY55" fmla="*/ 404883 h 801151"/>
              <a:gd name="connsiteX56" fmla="*/ 3345887 w 11413077"/>
              <a:gd name="connsiteY56" fmla="*/ 225387 h 801151"/>
              <a:gd name="connsiteX57" fmla="*/ 3892915 w 11413077"/>
              <a:gd name="connsiteY57" fmla="*/ 716729 h 801151"/>
              <a:gd name="connsiteX58" fmla="*/ 3735671 w 11413077"/>
              <a:gd name="connsiteY58" fmla="*/ 509823 h 801151"/>
              <a:gd name="connsiteX59" fmla="*/ 3892915 w 11413077"/>
              <a:gd name="connsiteY59" fmla="*/ 302918 h 801151"/>
              <a:gd name="connsiteX60" fmla="*/ 4050160 w 11413077"/>
              <a:gd name="connsiteY60" fmla="*/ 509823 h 801151"/>
              <a:gd name="connsiteX61" fmla="*/ 3892915 w 11413077"/>
              <a:gd name="connsiteY61" fmla="*/ 716729 h 801151"/>
              <a:gd name="connsiteX62" fmla="*/ 3897195 w 11413077"/>
              <a:gd name="connsiteY62" fmla="*/ 225387 h 801151"/>
              <a:gd name="connsiteX63" fmla="*/ 3639136 w 11413077"/>
              <a:gd name="connsiteY63" fmla="*/ 516558 h 801151"/>
              <a:gd name="connsiteX64" fmla="*/ 3888318 w 11413077"/>
              <a:gd name="connsiteY64" fmla="*/ 794573 h 801151"/>
              <a:gd name="connsiteX65" fmla="*/ 4146377 w 11413077"/>
              <a:gd name="connsiteY65" fmla="*/ 503402 h 801151"/>
              <a:gd name="connsiteX66" fmla="*/ 3897195 w 11413077"/>
              <a:gd name="connsiteY66" fmla="*/ 225387 h 801151"/>
              <a:gd name="connsiteX67" fmla="*/ 4953682 w 11413077"/>
              <a:gd name="connsiteY67" fmla="*/ 728789 h 801151"/>
              <a:gd name="connsiteX68" fmla="*/ 4847321 w 11413077"/>
              <a:gd name="connsiteY68" fmla="*/ 632463 h 801151"/>
              <a:gd name="connsiteX69" fmla="*/ 4940367 w 11413077"/>
              <a:gd name="connsiteY69" fmla="*/ 540522 h 801151"/>
              <a:gd name="connsiteX70" fmla="*/ 5007894 w 11413077"/>
              <a:gd name="connsiteY70" fmla="*/ 524077 h 801151"/>
              <a:gd name="connsiteX71" fmla="*/ 5082078 w 11413077"/>
              <a:gd name="connsiteY71" fmla="*/ 499956 h 801151"/>
              <a:gd name="connsiteX72" fmla="*/ 5082078 w 11413077"/>
              <a:gd name="connsiteY72" fmla="*/ 606150 h 801151"/>
              <a:gd name="connsiteX73" fmla="*/ 4953682 w 11413077"/>
              <a:gd name="connsiteY73" fmla="*/ 728789 h 801151"/>
              <a:gd name="connsiteX74" fmla="*/ 4982532 w 11413077"/>
              <a:gd name="connsiteY74" fmla="*/ 225387 h 801151"/>
              <a:gd name="connsiteX75" fmla="*/ 4758871 w 11413077"/>
              <a:gd name="connsiteY75" fmla="*/ 400497 h 801151"/>
              <a:gd name="connsiteX76" fmla="*/ 4844151 w 11413077"/>
              <a:gd name="connsiteY76" fmla="*/ 418040 h 801151"/>
              <a:gd name="connsiteX77" fmla="*/ 4975875 w 11413077"/>
              <a:gd name="connsiteY77" fmla="*/ 295400 h 801151"/>
              <a:gd name="connsiteX78" fmla="*/ 5082237 w 11413077"/>
              <a:gd name="connsiteY78" fmla="*/ 397208 h 801151"/>
              <a:gd name="connsiteX79" fmla="*/ 5082237 w 11413077"/>
              <a:gd name="connsiteY79" fmla="*/ 400497 h 801151"/>
              <a:gd name="connsiteX80" fmla="*/ 5050058 w 11413077"/>
              <a:gd name="connsiteY80" fmla="*/ 444196 h 801151"/>
              <a:gd name="connsiteX81" fmla="*/ 4890595 w 11413077"/>
              <a:gd name="connsiteY81" fmla="*/ 483667 h 801151"/>
              <a:gd name="connsiteX82" fmla="*/ 4755541 w 11413077"/>
              <a:gd name="connsiteY82" fmla="*/ 639041 h 801151"/>
              <a:gd name="connsiteX83" fmla="*/ 4928321 w 11413077"/>
              <a:gd name="connsiteY83" fmla="*/ 794416 h 801151"/>
              <a:gd name="connsiteX84" fmla="*/ 5082237 w 11413077"/>
              <a:gd name="connsiteY84" fmla="*/ 700283 h 801151"/>
              <a:gd name="connsiteX85" fmla="*/ 5093333 w 11413077"/>
              <a:gd name="connsiteY85" fmla="*/ 783452 h 801151"/>
              <a:gd name="connsiteX86" fmla="*/ 5187489 w 11413077"/>
              <a:gd name="connsiteY86" fmla="*/ 783452 h 801151"/>
              <a:gd name="connsiteX87" fmla="*/ 5173065 w 11413077"/>
              <a:gd name="connsiteY87" fmla="*/ 669584 h 801151"/>
              <a:gd name="connsiteX88" fmla="*/ 5173065 w 11413077"/>
              <a:gd name="connsiteY88" fmla="*/ 391726 h 801151"/>
              <a:gd name="connsiteX89" fmla="*/ 4982532 w 11413077"/>
              <a:gd name="connsiteY89" fmla="*/ 225387 h 801151"/>
              <a:gd name="connsiteX90" fmla="*/ 6542773 w 11413077"/>
              <a:gd name="connsiteY90" fmla="*/ 450775 h 801151"/>
              <a:gd name="connsiteX91" fmla="*/ 6692251 w 11413077"/>
              <a:gd name="connsiteY91" fmla="*/ 299786 h 801151"/>
              <a:gd name="connsiteX92" fmla="*/ 6826194 w 11413077"/>
              <a:gd name="connsiteY92" fmla="*/ 450775 h 801151"/>
              <a:gd name="connsiteX93" fmla="*/ 6542773 w 11413077"/>
              <a:gd name="connsiteY93" fmla="*/ 450775 h 801151"/>
              <a:gd name="connsiteX94" fmla="*/ 6692251 w 11413077"/>
              <a:gd name="connsiteY94" fmla="*/ 225387 h 801151"/>
              <a:gd name="connsiteX95" fmla="*/ 6444178 w 11413077"/>
              <a:gd name="connsiteY95" fmla="*/ 514366 h 801151"/>
              <a:gd name="connsiteX96" fmla="*/ 6692251 w 11413077"/>
              <a:gd name="connsiteY96" fmla="*/ 794573 h 801151"/>
              <a:gd name="connsiteX97" fmla="*/ 6918131 w 11413077"/>
              <a:gd name="connsiteY97" fmla="*/ 616174 h 801151"/>
              <a:gd name="connsiteX98" fmla="*/ 6833961 w 11413077"/>
              <a:gd name="connsiteY98" fmla="*/ 594246 h 801151"/>
              <a:gd name="connsiteX99" fmla="*/ 6701127 w 11413077"/>
              <a:gd name="connsiteY99" fmla="*/ 717825 h 801151"/>
              <a:gd name="connsiteX100" fmla="*/ 6539444 w 11413077"/>
              <a:gd name="connsiteY100" fmla="*/ 515305 h 801151"/>
              <a:gd name="connsiteX101" fmla="*/ 6919399 w 11413077"/>
              <a:gd name="connsiteY101" fmla="*/ 515305 h 801151"/>
              <a:gd name="connsiteX102" fmla="*/ 6919399 w 11413077"/>
              <a:gd name="connsiteY102" fmla="*/ 484606 h 801151"/>
              <a:gd name="connsiteX103" fmla="*/ 6692251 w 11413077"/>
              <a:gd name="connsiteY103" fmla="*/ 225387 h 801151"/>
              <a:gd name="connsiteX104" fmla="*/ 8290217 w 11413077"/>
              <a:gd name="connsiteY104" fmla="*/ 450775 h 801151"/>
              <a:gd name="connsiteX105" fmla="*/ 8439696 w 11413077"/>
              <a:gd name="connsiteY105" fmla="*/ 299786 h 801151"/>
              <a:gd name="connsiteX106" fmla="*/ 8573638 w 11413077"/>
              <a:gd name="connsiteY106" fmla="*/ 450775 h 801151"/>
              <a:gd name="connsiteX107" fmla="*/ 8290217 w 11413077"/>
              <a:gd name="connsiteY107" fmla="*/ 450775 h 801151"/>
              <a:gd name="connsiteX108" fmla="*/ 8439696 w 11413077"/>
              <a:gd name="connsiteY108" fmla="*/ 225387 h 801151"/>
              <a:gd name="connsiteX109" fmla="*/ 8191623 w 11413077"/>
              <a:gd name="connsiteY109" fmla="*/ 514366 h 801151"/>
              <a:gd name="connsiteX110" fmla="*/ 8439696 w 11413077"/>
              <a:gd name="connsiteY110" fmla="*/ 794573 h 801151"/>
              <a:gd name="connsiteX111" fmla="*/ 8665576 w 11413077"/>
              <a:gd name="connsiteY111" fmla="*/ 616174 h 801151"/>
              <a:gd name="connsiteX112" fmla="*/ 8581405 w 11413077"/>
              <a:gd name="connsiteY112" fmla="*/ 594246 h 801151"/>
              <a:gd name="connsiteX113" fmla="*/ 8448572 w 11413077"/>
              <a:gd name="connsiteY113" fmla="*/ 717825 h 801151"/>
              <a:gd name="connsiteX114" fmla="*/ 8286889 w 11413077"/>
              <a:gd name="connsiteY114" fmla="*/ 515305 h 801151"/>
              <a:gd name="connsiteX115" fmla="*/ 8666844 w 11413077"/>
              <a:gd name="connsiteY115" fmla="*/ 515305 h 801151"/>
              <a:gd name="connsiteX116" fmla="*/ 8666844 w 11413077"/>
              <a:gd name="connsiteY116" fmla="*/ 484606 h 801151"/>
              <a:gd name="connsiteX117" fmla="*/ 8439696 w 11413077"/>
              <a:gd name="connsiteY117" fmla="*/ 225387 h 801151"/>
              <a:gd name="connsiteX118" fmla="*/ 9844911 w 11413077"/>
              <a:gd name="connsiteY118" fmla="*/ 225387 h 801151"/>
              <a:gd name="connsiteX119" fmla="*/ 9590181 w 11413077"/>
              <a:gd name="connsiteY119" fmla="*/ 515462 h 801151"/>
              <a:gd name="connsiteX120" fmla="*/ 9840473 w 11413077"/>
              <a:gd name="connsiteY120" fmla="*/ 794573 h 801151"/>
              <a:gd name="connsiteX121" fmla="*/ 10067462 w 11413077"/>
              <a:gd name="connsiteY121" fmla="*/ 599728 h 801151"/>
              <a:gd name="connsiteX122" fmla="*/ 9979964 w 11413077"/>
              <a:gd name="connsiteY122" fmla="*/ 578896 h 801151"/>
              <a:gd name="connsiteX123" fmla="*/ 9847130 w 11413077"/>
              <a:gd name="connsiteY123" fmla="*/ 716729 h 801151"/>
              <a:gd name="connsiteX124" fmla="*/ 9686557 w 11413077"/>
              <a:gd name="connsiteY124" fmla="*/ 508727 h 801151"/>
              <a:gd name="connsiteX125" fmla="*/ 9842691 w 11413077"/>
              <a:gd name="connsiteY125" fmla="*/ 302918 h 801151"/>
              <a:gd name="connsiteX126" fmla="*/ 9979964 w 11413077"/>
              <a:gd name="connsiteY126" fmla="*/ 434172 h 801151"/>
              <a:gd name="connsiteX127" fmla="*/ 10067462 w 11413077"/>
              <a:gd name="connsiteY127" fmla="*/ 413341 h 801151"/>
              <a:gd name="connsiteX128" fmla="*/ 9844911 w 11413077"/>
              <a:gd name="connsiteY128" fmla="*/ 225387 h 801151"/>
              <a:gd name="connsiteX129" fmla="*/ 10644449 w 11413077"/>
              <a:gd name="connsiteY129" fmla="*/ 225387 h 801151"/>
              <a:gd name="connsiteX130" fmla="*/ 10489424 w 11413077"/>
              <a:gd name="connsiteY130" fmla="*/ 320617 h 801151"/>
              <a:gd name="connsiteX131" fmla="*/ 10489424 w 11413077"/>
              <a:gd name="connsiteY131" fmla="*/ 236351 h 801151"/>
              <a:gd name="connsiteX132" fmla="*/ 10397486 w 11413077"/>
              <a:gd name="connsiteY132" fmla="*/ 236351 h 801151"/>
              <a:gd name="connsiteX133" fmla="*/ 10397486 w 11413077"/>
              <a:gd name="connsiteY133" fmla="*/ 783609 h 801151"/>
              <a:gd name="connsiteX134" fmla="*/ 10489424 w 11413077"/>
              <a:gd name="connsiteY134" fmla="*/ 783609 h 801151"/>
              <a:gd name="connsiteX135" fmla="*/ 10489424 w 11413077"/>
              <a:gd name="connsiteY135" fmla="*/ 423522 h 801151"/>
              <a:gd name="connsiteX136" fmla="*/ 10610211 w 11413077"/>
              <a:gd name="connsiteY136" fmla="*/ 295557 h 801151"/>
              <a:gd name="connsiteX137" fmla="*/ 10729888 w 11413077"/>
              <a:gd name="connsiteY137" fmla="*/ 423522 h 801151"/>
              <a:gd name="connsiteX138" fmla="*/ 10729888 w 11413077"/>
              <a:gd name="connsiteY138" fmla="*/ 783609 h 801151"/>
              <a:gd name="connsiteX139" fmla="*/ 10821825 w 11413077"/>
              <a:gd name="connsiteY139" fmla="*/ 783609 h 801151"/>
              <a:gd name="connsiteX140" fmla="*/ 10821825 w 11413077"/>
              <a:gd name="connsiteY140" fmla="*/ 404883 h 801151"/>
              <a:gd name="connsiteX141" fmla="*/ 10644449 w 11413077"/>
              <a:gd name="connsiteY141" fmla="*/ 225387 h 801151"/>
              <a:gd name="connsiteX142" fmla="*/ 11036293 w 11413077"/>
              <a:gd name="connsiteY142" fmla="*/ 450775 h 801151"/>
              <a:gd name="connsiteX143" fmla="*/ 11185771 w 11413077"/>
              <a:gd name="connsiteY143" fmla="*/ 299786 h 801151"/>
              <a:gd name="connsiteX144" fmla="*/ 11319713 w 11413077"/>
              <a:gd name="connsiteY144" fmla="*/ 450775 h 801151"/>
              <a:gd name="connsiteX145" fmla="*/ 11036293 w 11413077"/>
              <a:gd name="connsiteY145" fmla="*/ 450775 h 801151"/>
              <a:gd name="connsiteX146" fmla="*/ 11185929 w 11413077"/>
              <a:gd name="connsiteY146" fmla="*/ 225387 h 801151"/>
              <a:gd name="connsiteX147" fmla="*/ 10937856 w 11413077"/>
              <a:gd name="connsiteY147" fmla="*/ 514366 h 801151"/>
              <a:gd name="connsiteX148" fmla="*/ 11185929 w 11413077"/>
              <a:gd name="connsiteY148" fmla="*/ 794573 h 801151"/>
              <a:gd name="connsiteX149" fmla="*/ 11411810 w 11413077"/>
              <a:gd name="connsiteY149" fmla="*/ 616174 h 801151"/>
              <a:gd name="connsiteX150" fmla="*/ 11327639 w 11413077"/>
              <a:gd name="connsiteY150" fmla="*/ 594246 h 801151"/>
              <a:gd name="connsiteX151" fmla="*/ 11194806 w 11413077"/>
              <a:gd name="connsiteY151" fmla="*/ 717825 h 801151"/>
              <a:gd name="connsiteX152" fmla="*/ 11033123 w 11413077"/>
              <a:gd name="connsiteY152" fmla="*/ 515305 h 801151"/>
              <a:gd name="connsiteX153" fmla="*/ 11413077 w 11413077"/>
              <a:gd name="connsiteY153" fmla="*/ 515305 h 801151"/>
              <a:gd name="connsiteX154" fmla="*/ 11413077 w 11413077"/>
              <a:gd name="connsiteY154" fmla="*/ 484606 h 801151"/>
              <a:gd name="connsiteX155" fmla="*/ 11185929 w 11413077"/>
              <a:gd name="connsiteY155" fmla="*/ 225387 h 801151"/>
              <a:gd name="connsiteX156" fmla="*/ 5470751 w 11413077"/>
              <a:gd name="connsiteY156" fmla="*/ 83169 h 801151"/>
              <a:gd name="connsiteX157" fmla="*/ 5378814 w 11413077"/>
              <a:gd name="connsiteY157" fmla="*/ 105097 h 801151"/>
              <a:gd name="connsiteX158" fmla="*/ 5378814 w 11413077"/>
              <a:gd name="connsiteY158" fmla="*/ 236351 h 801151"/>
              <a:gd name="connsiteX159" fmla="*/ 5272452 w 11413077"/>
              <a:gd name="connsiteY159" fmla="*/ 236351 h 801151"/>
              <a:gd name="connsiteX160" fmla="*/ 5272452 w 11413077"/>
              <a:gd name="connsiteY160" fmla="*/ 306364 h 801151"/>
              <a:gd name="connsiteX161" fmla="*/ 5378814 w 11413077"/>
              <a:gd name="connsiteY161" fmla="*/ 306364 h 801151"/>
              <a:gd name="connsiteX162" fmla="*/ 5378814 w 11413077"/>
              <a:gd name="connsiteY162" fmla="*/ 641234 h 801151"/>
              <a:gd name="connsiteX163" fmla="*/ 5530511 w 11413077"/>
              <a:gd name="connsiteY163" fmla="*/ 794416 h 801151"/>
              <a:gd name="connsiteX164" fmla="*/ 5649078 w 11413077"/>
              <a:gd name="connsiteY164" fmla="*/ 760428 h 801151"/>
              <a:gd name="connsiteX165" fmla="*/ 5623558 w 11413077"/>
              <a:gd name="connsiteY165" fmla="*/ 694801 h 801151"/>
              <a:gd name="connsiteX166" fmla="*/ 5542716 w 11413077"/>
              <a:gd name="connsiteY166" fmla="*/ 717825 h 801151"/>
              <a:gd name="connsiteX167" fmla="*/ 5470751 w 11413077"/>
              <a:gd name="connsiteY167" fmla="*/ 626981 h 801151"/>
              <a:gd name="connsiteX168" fmla="*/ 5470751 w 11413077"/>
              <a:gd name="connsiteY168" fmla="*/ 306364 h 801151"/>
              <a:gd name="connsiteX169" fmla="*/ 5634654 w 11413077"/>
              <a:gd name="connsiteY169" fmla="*/ 306364 h 801151"/>
              <a:gd name="connsiteX170" fmla="*/ 5634654 w 11413077"/>
              <a:gd name="connsiteY170" fmla="*/ 236351 h 801151"/>
              <a:gd name="connsiteX171" fmla="*/ 5470751 w 11413077"/>
              <a:gd name="connsiteY171" fmla="*/ 236351 h 801151"/>
              <a:gd name="connsiteX172" fmla="*/ 5470751 w 11413077"/>
              <a:gd name="connsiteY172" fmla="*/ 83169 h 801151"/>
              <a:gd name="connsiteX173" fmla="*/ 2397823 w 11413077"/>
              <a:gd name="connsiteY173" fmla="*/ 17386 h 801151"/>
              <a:gd name="connsiteX174" fmla="*/ 2301447 w 11413077"/>
              <a:gd name="connsiteY174" fmla="*/ 17386 h 801151"/>
              <a:gd name="connsiteX175" fmla="*/ 2301447 w 11413077"/>
              <a:gd name="connsiteY175" fmla="*/ 783452 h 801151"/>
              <a:gd name="connsiteX176" fmla="*/ 2397823 w 11413077"/>
              <a:gd name="connsiteY176" fmla="*/ 783452 h 801151"/>
              <a:gd name="connsiteX177" fmla="*/ 2397823 w 11413077"/>
              <a:gd name="connsiteY177" fmla="*/ 17386 h 801151"/>
              <a:gd name="connsiteX178" fmla="*/ 8064337 w 11413077"/>
              <a:gd name="connsiteY178" fmla="*/ 17386 h 801151"/>
              <a:gd name="connsiteX179" fmla="*/ 7918188 w 11413077"/>
              <a:gd name="connsiteY179" fmla="*/ 17386 h 801151"/>
              <a:gd name="connsiteX180" fmla="*/ 7688979 w 11413077"/>
              <a:gd name="connsiteY180" fmla="*/ 634656 h 801151"/>
              <a:gd name="connsiteX181" fmla="*/ 7458501 w 11413077"/>
              <a:gd name="connsiteY181" fmla="*/ 17386 h 801151"/>
              <a:gd name="connsiteX182" fmla="*/ 7305695 w 11413077"/>
              <a:gd name="connsiteY182" fmla="*/ 17386 h 801151"/>
              <a:gd name="connsiteX183" fmla="*/ 7305695 w 11413077"/>
              <a:gd name="connsiteY183" fmla="*/ 783452 h 801151"/>
              <a:gd name="connsiteX184" fmla="*/ 7402071 w 11413077"/>
              <a:gd name="connsiteY184" fmla="*/ 783452 h 801151"/>
              <a:gd name="connsiteX185" fmla="*/ 7402071 w 11413077"/>
              <a:gd name="connsiteY185" fmla="*/ 123579 h 801151"/>
              <a:gd name="connsiteX186" fmla="*/ 7649034 w 11413077"/>
              <a:gd name="connsiteY186" fmla="*/ 783452 h 801151"/>
              <a:gd name="connsiteX187" fmla="*/ 7723217 w 11413077"/>
              <a:gd name="connsiteY187" fmla="*/ 783452 h 801151"/>
              <a:gd name="connsiteX188" fmla="*/ 7967961 w 11413077"/>
              <a:gd name="connsiteY188" fmla="*/ 122483 h 801151"/>
              <a:gd name="connsiteX189" fmla="*/ 7967961 w 11413077"/>
              <a:gd name="connsiteY189" fmla="*/ 783452 h 801151"/>
              <a:gd name="connsiteX190" fmla="*/ 8064337 w 11413077"/>
              <a:gd name="connsiteY190" fmla="*/ 783452 h 801151"/>
              <a:gd name="connsiteX191" fmla="*/ 8064337 w 11413077"/>
              <a:gd name="connsiteY191" fmla="*/ 17386 h 801151"/>
              <a:gd name="connsiteX192" fmla="*/ 9007646 w 11413077"/>
              <a:gd name="connsiteY192" fmla="*/ 716729 h 801151"/>
              <a:gd name="connsiteX193" fmla="*/ 8855949 w 11413077"/>
              <a:gd name="connsiteY193" fmla="*/ 509823 h 801151"/>
              <a:gd name="connsiteX194" fmla="*/ 9007646 w 11413077"/>
              <a:gd name="connsiteY194" fmla="*/ 302918 h 801151"/>
              <a:gd name="connsiteX195" fmla="*/ 9159343 w 11413077"/>
              <a:gd name="connsiteY195" fmla="*/ 509823 h 801151"/>
              <a:gd name="connsiteX196" fmla="*/ 9007646 w 11413077"/>
              <a:gd name="connsiteY196" fmla="*/ 716729 h 801151"/>
              <a:gd name="connsiteX197" fmla="*/ 9249219 w 11413077"/>
              <a:gd name="connsiteY197" fmla="*/ 17386 h 801151"/>
              <a:gd name="connsiteX198" fmla="*/ 9157282 w 11413077"/>
              <a:gd name="connsiteY198" fmla="*/ 17386 h 801151"/>
              <a:gd name="connsiteX199" fmla="*/ 9157282 w 11413077"/>
              <a:gd name="connsiteY199" fmla="*/ 341292 h 801151"/>
              <a:gd name="connsiteX200" fmla="*/ 8992271 w 11413077"/>
              <a:gd name="connsiteY200" fmla="*/ 225231 h 801151"/>
              <a:gd name="connsiteX201" fmla="*/ 8759732 w 11413077"/>
              <a:gd name="connsiteY201" fmla="*/ 513113 h 801151"/>
              <a:gd name="connsiteX202" fmla="*/ 8984504 w 11413077"/>
              <a:gd name="connsiteY202" fmla="*/ 794416 h 801151"/>
              <a:gd name="connsiteX203" fmla="*/ 9157282 w 11413077"/>
              <a:gd name="connsiteY203" fmla="*/ 672873 h 801151"/>
              <a:gd name="connsiteX204" fmla="*/ 9157282 w 11413077"/>
              <a:gd name="connsiteY204" fmla="*/ 714536 h 801151"/>
              <a:gd name="connsiteX205" fmla="*/ 9162831 w 11413077"/>
              <a:gd name="connsiteY205" fmla="*/ 783452 h 801151"/>
              <a:gd name="connsiteX206" fmla="*/ 9255878 w 11413077"/>
              <a:gd name="connsiteY206" fmla="*/ 783452 h 801151"/>
              <a:gd name="connsiteX207" fmla="*/ 9249219 w 11413077"/>
              <a:gd name="connsiteY207" fmla="*/ 669584 h 801151"/>
              <a:gd name="connsiteX208" fmla="*/ 9249219 w 11413077"/>
              <a:gd name="connsiteY208" fmla="*/ 17386 h 801151"/>
              <a:gd name="connsiteX209" fmla="*/ 5784131 w 11413077"/>
              <a:gd name="connsiteY209" fmla="*/ 1096 h 801151"/>
              <a:gd name="connsiteX210" fmla="*/ 5718824 w 11413077"/>
              <a:gd name="connsiteY210" fmla="*/ 65627 h 801151"/>
              <a:gd name="connsiteX211" fmla="*/ 5784131 w 11413077"/>
              <a:gd name="connsiteY211" fmla="*/ 129061 h 801151"/>
              <a:gd name="connsiteX212" fmla="*/ 5848329 w 11413077"/>
              <a:gd name="connsiteY212" fmla="*/ 65627 h 801151"/>
              <a:gd name="connsiteX213" fmla="*/ 5784131 w 11413077"/>
              <a:gd name="connsiteY213" fmla="*/ 1096 h 801151"/>
              <a:gd name="connsiteX214" fmla="*/ 9428497 w 11413077"/>
              <a:gd name="connsiteY214" fmla="*/ 1096 h 801151"/>
              <a:gd name="connsiteX215" fmla="*/ 9363190 w 11413077"/>
              <a:gd name="connsiteY215" fmla="*/ 65627 h 801151"/>
              <a:gd name="connsiteX216" fmla="*/ 9428497 w 11413077"/>
              <a:gd name="connsiteY216" fmla="*/ 129061 h 801151"/>
              <a:gd name="connsiteX217" fmla="*/ 9492696 w 11413077"/>
              <a:gd name="connsiteY217" fmla="*/ 65627 h 801151"/>
              <a:gd name="connsiteX218" fmla="*/ 9428497 w 11413077"/>
              <a:gd name="connsiteY218" fmla="*/ 1096 h 801151"/>
              <a:gd name="connsiteX219" fmla="*/ 10219159 w 11413077"/>
              <a:gd name="connsiteY219" fmla="*/ 1096 h 801151"/>
              <a:gd name="connsiteX220" fmla="*/ 10153852 w 11413077"/>
              <a:gd name="connsiteY220" fmla="*/ 65627 h 801151"/>
              <a:gd name="connsiteX221" fmla="*/ 10219159 w 11413077"/>
              <a:gd name="connsiteY221" fmla="*/ 129061 h 801151"/>
              <a:gd name="connsiteX222" fmla="*/ 10283358 w 11413077"/>
              <a:gd name="connsiteY222" fmla="*/ 65627 h 801151"/>
              <a:gd name="connsiteX223" fmla="*/ 10219159 w 11413077"/>
              <a:gd name="connsiteY223" fmla="*/ 1096 h 801151"/>
              <a:gd name="connsiteX224" fmla="*/ 1651545 w 11413077"/>
              <a:gd name="connsiteY224" fmla="*/ 800994 h 801151"/>
              <a:gd name="connsiteX225" fmla="*/ 1908494 w 11413077"/>
              <a:gd name="connsiteY225" fmla="*/ 548197 h 801151"/>
              <a:gd name="connsiteX226" fmla="*/ 1908494 w 11413077"/>
              <a:gd name="connsiteY226" fmla="*/ 17542 h 801151"/>
              <a:gd name="connsiteX227" fmla="*/ 1771222 w 11413077"/>
              <a:gd name="connsiteY227" fmla="*/ 17542 h 801151"/>
              <a:gd name="connsiteX228" fmla="*/ 1771222 w 11413077"/>
              <a:gd name="connsiteY228" fmla="*/ 583282 h 801151"/>
              <a:gd name="connsiteX229" fmla="*/ 1651545 w 11413077"/>
              <a:gd name="connsiteY229" fmla="*/ 729885 h 801151"/>
              <a:gd name="connsiteX230" fmla="*/ 1531867 w 11413077"/>
              <a:gd name="connsiteY230" fmla="*/ 572318 h 801151"/>
              <a:gd name="connsiteX231" fmla="*/ 1531867 w 11413077"/>
              <a:gd name="connsiteY231" fmla="*/ 467221 h 801151"/>
              <a:gd name="connsiteX232" fmla="*/ 1394595 w 11413077"/>
              <a:gd name="connsiteY232" fmla="*/ 501209 h 801151"/>
              <a:gd name="connsiteX233" fmla="*/ 1394595 w 11413077"/>
              <a:gd name="connsiteY233" fmla="*/ 548197 h 801151"/>
              <a:gd name="connsiteX234" fmla="*/ 1651545 w 11413077"/>
              <a:gd name="connsiteY234" fmla="*/ 800994 h 801151"/>
              <a:gd name="connsiteX235" fmla="*/ 920642 w 11413077"/>
              <a:gd name="connsiteY235" fmla="*/ 721114 h 801151"/>
              <a:gd name="connsiteX236" fmla="*/ 748973 w 11413077"/>
              <a:gd name="connsiteY236" fmla="*/ 544908 h 801151"/>
              <a:gd name="connsiteX237" fmla="*/ 816499 w 11413077"/>
              <a:gd name="connsiteY237" fmla="*/ 405979 h 801151"/>
              <a:gd name="connsiteX238" fmla="*/ 1066791 w 11413077"/>
              <a:gd name="connsiteY238" fmla="*/ 676319 h 801151"/>
              <a:gd name="connsiteX239" fmla="*/ 920642 w 11413077"/>
              <a:gd name="connsiteY239" fmla="*/ 721114 h 801151"/>
              <a:gd name="connsiteX240" fmla="*/ 1054585 w 11413077"/>
              <a:gd name="connsiteY240" fmla="*/ 329388 h 801151"/>
              <a:gd name="connsiteX241" fmla="*/ 1199625 w 11413077"/>
              <a:gd name="connsiteY241" fmla="*/ 469413 h 801151"/>
              <a:gd name="connsiteX242" fmla="*/ 1164118 w 11413077"/>
              <a:gd name="connsiteY242" fmla="*/ 586571 h 801151"/>
              <a:gd name="connsiteX243" fmla="*/ 947114 w 11413077"/>
              <a:gd name="connsiteY243" fmla="*/ 350220 h 801151"/>
              <a:gd name="connsiteX244" fmla="*/ 1054585 w 11413077"/>
              <a:gd name="connsiteY244" fmla="*/ 329388 h 801151"/>
              <a:gd name="connsiteX245" fmla="*/ 920642 w 11413077"/>
              <a:gd name="connsiteY245" fmla="*/ 57952 h 801151"/>
              <a:gd name="connsiteX246" fmla="*/ 1024785 w 11413077"/>
              <a:gd name="connsiteY246" fmla="*/ 163050 h 801151"/>
              <a:gd name="connsiteX247" fmla="*/ 917313 w 11413077"/>
              <a:gd name="connsiteY247" fmla="*/ 318424 h 801151"/>
              <a:gd name="connsiteX248" fmla="*/ 869760 w 11413077"/>
              <a:gd name="connsiteY248" fmla="*/ 265954 h 801151"/>
              <a:gd name="connsiteX249" fmla="*/ 815548 w 11413077"/>
              <a:gd name="connsiteY249" fmla="*/ 157568 h 801151"/>
              <a:gd name="connsiteX250" fmla="*/ 920642 w 11413077"/>
              <a:gd name="connsiteY250" fmla="*/ 57952 h 801151"/>
              <a:gd name="connsiteX251" fmla="*/ 1198515 w 11413077"/>
              <a:gd name="connsiteY251" fmla="*/ 623692 h 801151"/>
              <a:gd name="connsiteX252" fmla="*/ 1292672 w 11413077"/>
              <a:gd name="connsiteY252" fmla="*/ 410208 h 801151"/>
              <a:gd name="connsiteX253" fmla="*/ 1147632 w 11413077"/>
              <a:gd name="connsiteY253" fmla="*/ 271279 h 801151"/>
              <a:gd name="connsiteX254" fmla="*/ 1014799 w 11413077"/>
              <a:gd name="connsiteY254" fmla="*/ 297593 h 801151"/>
              <a:gd name="connsiteX255" fmla="*/ 1012580 w 11413077"/>
              <a:gd name="connsiteY255" fmla="*/ 293207 h 801151"/>
              <a:gd name="connsiteX256" fmla="*/ 1132257 w 11413077"/>
              <a:gd name="connsiteY256" fmla="*/ 148796 h 801151"/>
              <a:gd name="connsiteX257" fmla="*/ 923971 w 11413077"/>
              <a:gd name="connsiteY257" fmla="*/ 0 h 801151"/>
              <a:gd name="connsiteX258" fmla="*/ 695871 w 11413077"/>
              <a:gd name="connsiteY258" fmla="*/ 189363 h 801151"/>
              <a:gd name="connsiteX259" fmla="*/ 784480 w 11413077"/>
              <a:gd name="connsiteY259" fmla="*/ 372148 h 801151"/>
              <a:gd name="connsiteX260" fmla="*/ 785589 w 11413077"/>
              <a:gd name="connsiteY260" fmla="*/ 374340 h 801151"/>
              <a:gd name="connsiteX261" fmla="*/ 627235 w 11413077"/>
              <a:gd name="connsiteY261" fmla="*/ 594246 h 801151"/>
              <a:gd name="connsiteX262" fmla="*/ 849787 w 11413077"/>
              <a:gd name="connsiteY262" fmla="*/ 801151 h 801151"/>
              <a:gd name="connsiteX263" fmla="*/ 1100079 w 11413077"/>
              <a:gd name="connsiteY263" fmla="*/ 712500 h 801151"/>
              <a:gd name="connsiteX264" fmla="*/ 1166496 w 11413077"/>
              <a:gd name="connsiteY264" fmla="*/ 783609 h 801151"/>
              <a:gd name="connsiteX265" fmla="*/ 1340384 w 11413077"/>
              <a:gd name="connsiteY265" fmla="*/ 783609 h 801151"/>
              <a:gd name="connsiteX266" fmla="*/ 1340384 w 11413077"/>
              <a:gd name="connsiteY266" fmla="*/ 778127 h 801151"/>
              <a:gd name="connsiteX267" fmla="*/ 1198515 w 11413077"/>
              <a:gd name="connsiteY267" fmla="*/ 623692 h 801151"/>
              <a:gd name="connsiteX268" fmla="*/ 256949 w 11413077"/>
              <a:gd name="connsiteY268" fmla="*/ 800994 h 801151"/>
              <a:gd name="connsiteX269" fmla="*/ 513898 w 11413077"/>
              <a:gd name="connsiteY269" fmla="*/ 548197 h 801151"/>
              <a:gd name="connsiteX270" fmla="*/ 513898 w 11413077"/>
              <a:gd name="connsiteY270" fmla="*/ 17542 h 801151"/>
              <a:gd name="connsiteX271" fmla="*/ 376626 w 11413077"/>
              <a:gd name="connsiteY271" fmla="*/ 17542 h 801151"/>
              <a:gd name="connsiteX272" fmla="*/ 376626 w 11413077"/>
              <a:gd name="connsiteY272" fmla="*/ 583282 h 801151"/>
              <a:gd name="connsiteX273" fmla="*/ 256949 w 11413077"/>
              <a:gd name="connsiteY273" fmla="*/ 729885 h 801151"/>
              <a:gd name="connsiteX274" fmla="*/ 137272 w 11413077"/>
              <a:gd name="connsiteY274" fmla="*/ 572318 h 801151"/>
              <a:gd name="connsiteX275" fmla="*/ 137272 w 11413077"/>
              <a:gd name="connsiteY275" fmla="*/ 467221 h 801151"/>
              <a:gd name="connsiteX276" fmla="*/ 0 w 11413077"/>
              <a:gd name="connsiteY276" fmla="*/ 501209 h 801151"/>
              <a:gd name="connsiteX277" fmla="*/ 0 w 11413077"/>
              <a:gd name="connsiteY277" fmla="*/ 548197 h 801151"/>
              <a:gd name="connsiteX278" fmla="*/ 256949 w 11413077"/>
              <a:gd name="connsiteY278" fmla="*/ 800994 h 80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11413077" h="801151">
                <a:moveTo>
                  <a:pt x="4672481" y="236351"/>
                </a:moveTo>
                <a:lnTo>
                  <a:pt x="4578324" y="236351"/>
                </a:lnTo>
                <a:lnTo>
                  <a:pt x="4436614" y="678512"/>
                </a:lnTo>
                <a:lnTo>
                  <a:pt x="4293794" y="236351"/>
                </a:lnTo>
                <a:lnTo>
                  <a:pt x="4196308" y="236351"/>
                </a:lnTo>
                <a:lnTo>
                  <a:pt x="4376855" y="783609"/>
                </a:lnTo>
                <a:lnTo>
                  <a:pt x="4492093" y="783609"/>
                </a:lnTo>
                <a:lnTo>
                  <a:pt x="4672481" y="236351"/>
                </a:lnTo>
                <a:moveTo>
                  <a:pt x="5829624" y="236351"/>
                </a:moveTo>
                <a:lnTo>
                  <a:pt x="5737687" y="236351"/>
                </a:lnTo>
                <a:lnTo>
                  <a:pt x="5737687" y="783609"/>
                </a:lnTo>
                <a:lnTo>
                  <a:pt x="5829624" y="783609"/>
                </a:lnTo>
                <a:lnTo>
                  <a:pt x="5829624" y="236351"/>
                </a:lnTo>
                <a:close/>
                <a:moveTo>
                  <a:pt x="6394405" y="236351"/>
                </a:moveTo>
                <a:lnTo>
                  <a:pt x="6300249" y="236351"/>
                </a:lnTo>
                <a:lnTo>
                  <a:pt x="6158538" y="678512"/>
                </a:lnTo>
                <a:lnTo>
                  <a:pt x="6015718" y="236351"/>
                </a:lnTo>
                <a:lnTo>
                  <a:pt x="5918233" y="236351"/>
                </a:lnTo>
                <a:lnTo>
                  <a:pt x="6098779" y="783609"/>
                </a:lnTo>
                <a:lnTo>
                  <a:pt x="6214018" y="783609"/>
                </a:lnTo>
                <a:lnTo>
                  <a:pt x="6394405" y="236351"/>
                </a:lnTo>
                <a:moveTo>
                  <a:pt x="9473991" y="236351"/>
                </a:moveTo>
                <a:lnTo>
                  <a:pt x="9382053" y="236351"/>
                </a:lnTo>
                <a:lnTo>
                  <a:pt x="9382053" y="783609"/>
                </a:lnTo>
                <a:lnTo>
                  <a:pt x="9473991" y="783609"/>
                </a:lnTo>
                <a:lnTo>
                  <a:pt x="9473991" y="236351"/>
                </a:lnTo>
                <a:close/>
                <a:moveTo>
                  <a:pt x="10264494" y="236351"/>
                </a:moveTo>
                <a:lnTo>
                  <a:pt x="10172556" y="236351"/>
                </a:lnTo>
                <a:lnTo>
                  <a:pt x="10172556" y="783609"/>
                </a:lnTo>
                <a:lnTo>
                  <a:pt x="10264494" y="783609"/>
                </a:lnTo>
                <a:lnTo>
                  <a:pt x="10264494" y="236351"/>
                </a:lnTo>
                <a:close/>
                <a:moveTo>
                  <a:pt x="2788874" y="225387"/>
                </a:moveTo>
                <a:cubicBezTo>
                  <a:pt x="2710251" y="225387"/>
                  <a:pt x="2656040" y="262665"/>
                  <a:pt x="2633848" y="320617"/>
                </a:cubicBezTo>
                <a:lnTo>
                  <a:pt x="2633848" y="236351"/>
                </a:lnTo>
                <a:lnTo>
                  <a:pt x="2541911" y="236351"/>
                </a:lnTo>
                <a:lnTo>
                  <a:pt x="2541911" y="783609"/>
                </a:lnTo>
                <a:lnTo>
                  <a:pt x="2633848" y="783609"/>
                </a:lnTo>
                <a:lnTo>
                  <a:pt x="2633848" y="423522"/>
                </a:lnTo>
                <a:cubicBezTo>
                  <a:pt x="2633848" y="346931"/>
                  <a:pt x="2672684" y="295557"/>
                  <a:pt x="2754635" y="295557"/>
                </a:cubicBezTo>
                <a:cubicBezTo>
                  <a:pt x="2835476" y="295557"/>
                  <a:pt x="2874312" y="346931"/>
                  <a:pt x="2874312" y="423522"/>
                </a:cubicBezTo>
                <a:lnTo>
                  <a:pt x="2874312" y="783609"/>
                </a:lnTo>
                <a:lnTo>
                  <a:pt x="2966249" y="783609"/>
                </a:lnTo>
                <a:lnTo>
                  <a:pt x="2966249" y="404883"/>
                </a:lnTo>
                <a:cubicBezTo>
                  <a:pt x="2966091" y="301978"/>
                  <a:pt x="2900625" y="225387"/>
                  <a:pt x="2788874" y="225387"/>
                </a:cubicBezTo>
                <a:moveTo>
                  <a:pt x="3345887" y="225387"/>
                </a:moveTo>
                <a:cubicBezTo>
                  <a:pt x="3267265" y="225387"/>
                  <a:pt x="3213054" y="262665"/>
                  <a:pt x="3190862" y="320617"/>
                </a:cubicBezTo>
                <a:lnTo>
                  <a:pt x="3190862" y="236351"/>
                </a:lnTo>
                <a:lnTo>
                  <a:pt x="3098925" y="236351"/>
                </a:lnTo>
                <a:lnTo>
                  <a:pt x="3098925" y="783609"/>
                </a:lnTo>
                <a:lnTo>
                  <a:pt x="3190862" y="783609"/>
                </a:lnTo>
                <a:lnTo>
                  <a:pt x="3190862" y="423522"/>
                </a:lnTo>
                <a:cubicBezTo>
                  <a:pt x="3190862" y="346931"/>
                  <a:pt x="3229698" y="295557"/>
                  <a:pt x="3311649" y="295557"/>
                </a:cubicBezTo>
                <a:cubicBezTo>
                  <a:pt x="3392490" y="295557"/>
                  <a:pt x="3431326" y="346931"/>
                  <a:pt x="3431326" y="423522"/>
                </a:cubicBezTo>
                <a:lnTo>
                  <a:pt x="3431326" y="783609"/>
                </a:lnTo>
                <a:lnTo>
                  <a:pt x="3523263" y="783609"/>
                </a:lnTo>
                <a:lnTo>
                  <a:pt x="3523263" y="404883"/>
                </a:lnTo>
                <a:cubicBezTo>
                  <a:pt x="3523105" y="301978"/>
                  <a:pt x="3457639" y="225387"/>
                  <a:pt x="3345887" y="225387"/>
                </a:cubicBezTo>
                <a:moveTo>
                  <a:pt x="3892915" y="716729"/>
                </a:moveTo>
                <a:cubicBezTo>
                  <a:pt x="3799868" y="716729"/>
                  <a:pt x="3735671" y="651102"/>
                  <a:pt x="3735671" y="509823"/>
                </a:cubicBezTo>
                <a:cubicBezTo>
                  <a:pt x="3735671" y="367605"/>
                  <a:pt x="3798759" y="302918"/>
                  <a:pt x="3892915" y="302918"/>
                </a:cubicBezTo>
                <a:cubicBezTo>
                  <a:pt x="3985962" y="302918"/>
                  <a:pt x="4050160" y="367449"/>
                  <a:pt x="4050160" y="509823"/>
                </a:cubicBezTo>
                <a:cubicBezTo>
                  <a:pt x="4050160" y="651102"/>
                  <a:pt x="3988023" y="716729"/>
                  <a:pt x="3892915" y="716729"/>
                </a:cubicBezTo>
                <a:moveTo>
                  <a:pt x="3897195" y="225387"/>
                </a:moveTo>
                <a:cubicBezTo>
                  <a:pt x="3731074" y="225387"/>
                  <a:pt x="3639136" y="345834"/>
                  <a:pt x="3639136" y="516558"/>
                </a:cubicBezTo>
                <a:cubicBezTo>
                  <a:pt x="3639136" y="689476"/>
                  <a:pt x="3733293" y="794573"/>
                  <a:pt x="3888318" y="794573"/>
                </a:cubicBezTo>
                <a:cubicBezTo>
                  <a:pt x="4055549" y="794573"/>
                  <a:pt x="4146377" y="674126"/>
                  <a:pt x="4146377" y="503402"/>
                </a:cubicBezTo>
                <a:cubicBezTo>
                  <a:pt x="4146536" y="330485"/>
                  <a:pt x="4053489" y="225387"/>
                  <a:pt x="3897195" y="225387"/>
                </a:cubicBezTo>
                <a:moveTo>
                  <a:pt x="4953682" y="728789"/>
                </a:moveTo>
                <a:cubicBezTo>
                  <a:pt x="4890595" y="728789"/>
                  <a:pt x="4847321" y="693704"/>
                  <a:pt x="4847321" y="632463"/>
                </a:cubicBezTo>
                <a:cubicBezTo>
                  <a:pt x="4847321" y="581089"/>
                  <a:pt x="4877280" y="555872"/>
                  <a:pt x="4940367" y="540522"/>
                </a:cubicBezTo>
                <a:lnTo>
                  <a:pt x="5007894" y="524077"/>
                </a:lnTo>
                <a:cubicBezTo>
                  <a:pt x="5050058" y="514209"/>
                  <a:pt x="5073201" y="507631"/>
                  <a:pt x="5082078" y="499956"/>
                </a:cubicBezTo>
                <a:lnTo>
                  <a:pt x="5082078" y="606150"/>
                </a:lnTo>
                <a:cubicBezTo>
                  <a:pt x="5082237" y="687283"/>
                  <a:pt x="5025647" y="728789"/>
                  <a:pt x="4953682" y="728789"/>
                </a:cubicBezTo>
                <a:moveTo>
                  <a:pt x="4982532" y="225387"/>
                </a:moveTo>
                <a:cubicBezTo>
                  <a:pt x="4848589" y="225387"/>
                  <a:pt x="4765528" y="305268"/>
                  <a:pt x="4758871" y="400497"/>
                </a:cubicBezTo>
                <a:lnTo>
                  <a:pt x="4844151" y="418040"/>
                </a:lnTo>
                <a:cubicBezTo>
                  <a:pt x="4848589" y="348027"/>
                  <a:pt x="4891704" y="295400"/>
                  <a:pt x="4975875" y="295400"/>
                </a:cubicBezTo>
                <a:cubicBezTo>
                  <a:pt x="5046730" y="295400"/>
                  <a:pt x="5082237" y="333774"/>
                  <a:pt x="5082237" y="397208"/>
                </a:cubicBezTo>
                <a:lnTo>
                  <a:pt x="5082237" y="400497"/>
                </a:lnTo>
                <a:cubicBezTo>
                  <a:pt x="5082237" y="426811"/>
                  <a:pt x="5074470" y="437775"/>
                  <a:pt x="5050058" y="444196"/>
                </a:cubicBezTo>
                <a:lnTo>
                  <a:pt x="4890595" y="483667"/>
                </a:lnTo>
                <a:cubicBezTo>
                  <a:pt x="4805315" y="505594"/>
                  <a:pt x="4755541" y="561354"/>
                  <a:pt x="4755541" y="639041"/>
                </a:cubicBezTo>
                <a:cubicBezTo>
                  <a:pt x="4755541" y="737560"/>
                  <a:pt x="4829726" y="794416"/>
                  <a:pt x="4928321" y="794416"/>
                </a:cubicBezTo>
                <a:cubicBezTo>
                  <a:pt x="5011381" y="794416"/>
                  <a:pt x="5066702" y="754946"/>
                  <a:pt x="5082237" y="700283"/>
                </a:cubicBezTo>
                <a:cubicBezTo>
                  <a:pt x="5084455" y="751657"/>
                  <a:pt x="5088894" y="773585"/>
                  <a:pt x="5093333" y="783452"/>
                </a:cubicBezTo>
                <a:lnTo>
                  <a:pt x="5187489" y="783452"/>
                </a:lnTo>
                <a:cubicBezTo>
                  <a:pt x="5177503" y="754946"/>
                  <a:pt x="5173065" y="715632"/>
                  <a:pt x="5173065" y="669584"/>
                </a:cubicBezTo>
                <a:lnTo>
                  <a:pt x="5173065" y="391726"/>
                </a:lnTo>
                <a:cubicBezTo>
                  <a:pt x="5173065" y="288822"/>
                  <a:pt x="5100941" y="225387"/>
                  <a:pt x="4982532" y="225387"/>
                </a:cubicBezTo>
                <a:moveTo>
                  <a:pt x="6542773" y="450775"/>
                </a:moveTo>
                <a:cubicBezTo>
                  <a:pt x="6554979" y="354449"/>
                  <a:pt x="6604751" y="299786"/>
                  <a:pt x="6692251" y="299786"/>
                </a:cubicBezTo>
                <a:cubicBezTo>
                  <a:pt x="6775311" y="299786"/>
                  <a:pt x="6823975" y="349123"/>
                  <a:pt x="6826194" y="450775"/>
                </a:cubicBezTo>
                <a:lnTo>
                  <a:pt x="6542773" y="450775"/>
                </a:lnTo>
                <a:moveTo>
                  <a:pt x="6692251" y="225387"/>
                </a:moveTo>
                <a:cubicBezTo>
                  <a:pt x="6546102" y="225387"/>
                  <a:pt x="6444178" y="327195"/>
                  <a:pt x="6444178" y="514366"/>
                </a:cubicBezTo>
                <a:cubicBezTo>
                  <a:pt x="6444178" y="693861"/>
                  <a:pt x="6538335" y="794573"/>
                  <a:pt x="6692251" y="794573"/>
                </a:cubicBezTo>
                <a:cubicBezTo>
                  <a:pt x="6818585" y="794573"/>
                  <a:pt x="6898317" y="723464"/>
                  <a:pt x="6918131" y="616174"/>
                </a:cubicBezTo>
                <a:lnTo>
                  <a:pt x="6833961" y="594246"/>
                </a:lnTo>
                <a:cubicBezTo>
                  <a:pt x="6819537" y="686186"/>
                  <a:pt x="6769763" y="717825"/>
                  <a:pt x="6701127" y="717825"/>
                </a:cubicBezTo>
                <a:cubicBezTo>
                  <a:pt x="6591436" y="717825"/>
                  <a:pt x="6542773" y="637945"/>
                  <a:pt x="6539444" y="515305"/>
                </a:cubicBezTo>
                <a:lnTo>
                  <a:pt x="6919399" y="515305"/>
                </a:lnTo>
                <a:lnTo>
                  <a:pt x="6919399" y="484606"/>
                </a:lnTo>
                <a:cubicBezTo>
                  <a:pt x="6919241" y="293207"/>
                  <a:pt x="6814147" y="225387"/>
                  <a:pt x="6692251" y="225387"/>
                </a:cubicBezTo>
                <a:moveTo>
                  <a:pt x="8290217" y="450775"/>
                </a:moveTo>
                <a:cubicBezTo>
                  <a:pt x="8302423" y="354449"/>
                  <a:pt x="8352196" y="299786"/>
                  <a:pt x="8439696" y="299786"/>
                </a:cubicBezTo>
                <a:cubicBezTo>
                  <a:pt x="8522756" y="299786"/>
                  <a:pt x="8571420" y="349123"/>
                  <a:pt x="8573638" y="450775"/>
                </a:cubicBezTo>
                <a:lnTo>
                  <a:pt x="8290217" y="450775"/>
                </a:lnTo>
                <a:moveTo>
                  <a:pt x="8439696" y="225387"/>
                </a:moveTo>
                <a:cubicBezTo>
                  <a:pt x="8293547" y="225387"/>
                  <a:pt x="8191623" y="327195"/>
                  <a:pt x="8191623" y="514366"/>
                </a:cubicBezTo>
                <a:cubicBezTo>
                  <a:pt x="8191623" y="693861"/>
                  <a:pt x="8285780" y="794573"/>
                  <a:pt x="8439696" y="794573"/>
                </a:cubicBezTo>
                <a:cubicBezTo>
                  <a:pt x="8566030" y="794573"/>
                  <a:pt x="8645762" y="723464"/>
                  <a:pt x="8665576" y="616174"/>
                </a:cubicBezTo>
                <a:lnTo>
                  <a:pt x="8581405" y="594246"/>
                </a:lnTo>
                <a:cubicBezTo>
                  <a:pt x="8566981" y="686186"/>
                  <a:pt x="8517208" y="717825"/>
                  <a:pt x="8448572" y="717825"/>
                </a:cubicBezTo>
                <a:cubicBezTo>
                  <a:pt x="8338881" y="717825"/>
                  <a:pt x="8290217" y="637945"/>
                  <a:pt x="8286889" y="515305"/>
                </a:cubicBezTo>
                <a:lnTo>
                  <a:pt x="8666844" y="515305"/>
                </a:lnTo>
                <a:lnTo>
                  <a:pt x="8666844" y="484606"/>
                </a:lnTo>
                <a:cubicBezTo>
                  <a:pt x="8666685" y="293207"/>
                  <a:pt x="8561433" y="225387"/>
                  <a:pt x="8439696" y="225387"/>
                </a:cubicBezTo>
                <a:moveTo>
                  <a:pt x="9844911" y="225387"/>
                </a:moveTo>
                <a:cubicBezTo>
                  <a:pt x="9693214" y="225387"/>
                  <a:pt x="9590181" y="330485"/>
                  <a:pt x="9590181" y="515462"/>
                </a:cubicBezTo>
                <a:cubicBezTo>
                  <a:pt x="9590181" y="697150"/>
                  <a:pt x="9690994" y="794573"/>
                  <a:pt x="9840473" y="794573"/>
                </a:cubicBezTo>
                <a:cubicBezTo>
                  <a:pt x="9975525" y="794573"/>
                  <a:pt x="10052087" y="712500"/>
                  <a:pt x="10067462" y="599728"/>
                </a:cubicBezTo>
                <a:lnTo>
                  <a:pt x="9979964" y="578896"/>
                </a:lnTo>
                <a:cubicBezTo>
                  <a:pt x="9964429" y="681801"/>
                  <a:pt x="9920204" y="716729"/>
                  <a:pt x="9847130" y="716729"/>
                </a:cubicBezTo>
                <a:cubicBezTo>
                  <a:pt x="9740768" y="716729"/>
                  <a:pt x="9686557" y="640138"/>
                  <a:pt x="9686557" y="508727"/>
                </a:cubicBezTo>
                <a:cubicBezTo>
                  <a:pt x="9686557" y="371991"/>
                  <a:pt x="9744097" y="302918"/>
                  <a:pt x="9842691" y="302918"/>
                </a:cubicBezTo>
                <a:cubicBezTo>
                  <a:pt x="9912437" y="302918"/>
                  <a:pt x="9963478" y="336906"/>
                  <a:pt x="9979964" y="434172"/>
                </a:cubicBezTo>
                <a:lnTo>
                  <a:pt x="10067462" y="413341"/>
                </a:lnTo>
                <a:cubicBezTo>
                  <a:pt x="10051928" y="301978"/>
                  <a:pt x="9975525" y="225387"/>
                  <a:pt x="9844911" y="225387"/>
                </a:cubicBezTo>
                <a:moveTo>
                  <a:pt x="10644449" y="225387"/>
                </a:moveTo>
                <a:cubicBezTo>
                  <a:pt x="10565826" y="225387"/>
                  <a:pt x="10511615" y="262665"/>
                  <a:pt x="10489424" y="320617"/>
                </a:cubicBezTo>
                <a:lnTo>
                  <a:pt x="10489424" y="236351"/>
                </a:lnTo>
                <a:lnTo>
                  <a:pt x="10397486" y="236351"/>
                </a:lnTo>
                <a:lnTo>
                  <a:pt x="10397486" y="783609"/>
                </a:lnTo>
                <a:lnTo>
                  <a:pt x="10489424" y="783609"/>
                </a:lnTo>
                <a:lnTo>
                  <a:pt x="10489424" y="423522"/>
                </a:lnTo>
                <a:cubicBezTo>
                  <a:pt x="10489424" y="346931"/>
                  <a:pt x="10528259" y="295557"/>
                  <a:pt x="10610211" y="295557"/>
                </a:cubicBezTo>
                <a:cubicBezTo>
                  <a:pt x="10691052" y="295557"/>
                  <a:pt x="10729888" y="346931"/>
                  <a:pt x="10729888" y="423522"/>
                </a:cubicBezTo>
                <a:lnTo>
                  <a:pt x="10729888" y="783609"/>
                </a:lnTo>
                <a:lnTo>
                  <a:pt x="10821825" y="783609"/>
                </a:lnTo>
                <a:lnTo>
                  <a:pt x="10821825" y="404883"/>
                </a:lnTo>
                <a:cubicBezTo>
                  <a:pt x="10821666" y="301978"/>
                  <a:pt x="10756200" y="225387"/>
                  <a:pt x="10644449" y="225387"/>
                </a:cubicBezTo>
                <a:moveTo>
                  <a:pt x="11036293" y="450775"/>
                </a:moveTo>
                <a:cubicBezTo>
                  <a:pt x="11048498" y="354449"/>
                  <a:pt x="11098271" y="299786"/>
                  <a:pt x="11185771" y="299786"/>
                </a:cubicBezTo>
                <a:cubicBezTo>
                  <a:pt x="11268831" y="299786"/>
                  <a:pt x="11317495" y="349123"/>
                  <a:pt x="11319713" y="450775"/>
                </a:cubicBezTo>
                <a:lnTo>
                  <a:pt x="11036293" y="450775"/>
                </a:lnTo>
                <a:moveTo>
                  <a:pt x="11185929" y="225387"/>
                </a:moveTo>
                <a:cubicBezTo>
                  <a:pt x="11039780" y="225387"/>
                  <a:pt x="10937856" y="327195"/>
                  <a:pt x="10937856" y="514366"/>
                </a:cubicBezTo>
                <a:cubicBezTo>
                  <a:pt x="10937856" y="693861"/>
                  <a:pt x="11032013" y="794573"/>
                  <a:pt x="11185929" y="794573"/>
                </a:cubicBezTo>
                <a:cubicBezTo>
                  <a:pt x="11312263" y="794573"/>
                  <a:pt x="11391996" y="723464"/>
                  <a:pt x="11411810" y="616174"/>
                </a:cubicBezTo>
                <a:lnTo>
                  <a:pt x="11327639" y="594246"/>
                </a:lnTo>
                <a:cubicBezTo>
                  <a:pt x="11313214" y="686186"/>
                  <a:pt x="11263441" y="717825"/>
                  <a:pt x="11194806" y="717825"/>
                </a:cubicBezTo>
                <a:cubicBezTo>
                  <a:pt x="11085114" y="717825"/>
                  <a:pt x="11036451" y="637945"/>
                  <a:pt x="11033123" y="515305"/>
                </a:cubicBezTo>
                <a:lnTo>
                  <a:pt x="11413077" y="515305"/>
                </a:lnTo>
                <a:lnTo>
                  <a:pt x="11413077" y="484606"/>
                </a:lnTo>
                <a:cubicBezTo>
                  <a:pt x="11412919" y="293207"/>
                  <a:pt x="11307667" y="225387"/>
                  <a:pt x="11185929" y="225387"/>
                </a:cubicBezTo>
                <a:moveTo>
                  <a:pt x="5470751" y="83169"/>
                </a:moveTo>
                <a:lnTo>
                  <a:pt x="5378814" y="105097"/>
                </a:lnTo>
                <a:lnTo>
                  <a:pt x="5378814" y="236351"/>
                </a:lnTo>
                <a:lnTo>
                  <a:pt x="5272452" y="236351"/>
                </a:lnTo>
                <a:lnTo>
                  <a:pt x="5272452" y="306364"/>
                </a:lnTo>
                <a:lnTo>
                  <a:pt x="5378814" y="306364"/>
                </a:lnTo>
                <a:lnTo>
                  <a:pt x="5378814" y="641234"/>
                </a:lnTo>
                <a:cubicBezTo>
                  <a:pt x="5378814" y="730982"/>
                  <a:pt x="5421929" y="794416"/>
                  <a:pt x="5530511" y="794416"/>
                </a:cubicBezTo>
                <a:cubicBezTo>
                  <a:pt x="5584722" y="794416"/>
                  <a:pt x="5631325" y="776874"/>
                  <a:pt x="5649078" y="760428"/>
                </a:cubicBezTo>
                <a:lnTo>
                  <a:pt x="5623558" y="694801"/>
                </a:lnTo>
                <a:cubicBezTo>
                  <a:pt x="5623558" y="694801"/>
                  <a:pt x="5590270" y="717825"/>
                  <a:pt x="5542716" y="717825"/>
                </a:cubicBezTo>
                <a:cubicBezTo>
                  <a:pt x="5492784" y="717825"/>
                  <a:pt x="5470751" y="688222"/>
                  <a:pt x="5470751" y="626981"/>
                </a:cubicBezTo>
                <a:lnTo>
                  <a:pt x="5470751" y="306364"/>
                </a:lnTo>
                <a:lnTo>
                  <a:pt x="5634654" y="306364"/>
                </a:lnTo>
                <a:lnTo>
                  <a:pt x="5634654" y="236351"/>
                </a:lnTo>
                <a:lnTo>
                  <a:pt x="5470751" y="236351"/>
                </a:lnTo>
                <a:lnTo>
                  <a:pt x="5470751" y="83169"/>
                </a:lnTo>
                <a:moveTo>
                  <a:pt x="2397823" y="17386"/>
                </a:moveTo>
                <a:lnTo>
                  <a:pt x="2301447" y="17386"/>
                </a:lnTo>
                <a:lnTo>
                  <a:pt x="2301447" y="783452"/>
                </a:lnTo>
                <a:lnTo>
                  <a:pt x="2397823" y="783452"/>
                </a:lnTo>
                <a:lnTo>
                  <a:pt x="2397823" y="17386"/>
                </a:lnTo>
                <a:close/>
                <a:moveTo>
                  <a:pt x="8064337" y="17386"/>
                </a:moveTo>
                <a:lnTo>
                  <a:pt x="7918188" y="17386"/>
                </a:lnTo>
                <a:lnTo>
                  <a:pt x="7688979" y="634656"/>
                </a:lnTo>
                <a:lnTo>
                  <a:pt x="7458501" y="17386"/>
                </a:lnTo>
                <a:lnTo>
                  <a:pt x="7305695" y="17386"/>
                </a:lnTo>
                <a:lnTo>
                  <a:pt x="7305695" y="783452"/>
                </a:lnTo>
                <a:lnTo>
                  <a:pt x="7402071" y="783452"/>
                </a:lnTo>
                <a:lnTo>
                  <a:pt x="7402071" y="123579"/>
                </a:lnTo>
                <a:lnTo>
                  <a:pt x="7649034" y="783452"/>
                </a:lnTo>
                <a:lnTo>
                  <a:pt x="7723217" y="783452"/>
                </a:lnTo>
                <a:lnTo>
                  <a:pt x="7967961" y="122483"/>
                </a:lnTo>
                <a:lnTo>
                  <a:pt x="7967961" y="783452"/>
                </a:lnTo>
                <a:lnTo>
                  <a:pt x="8064337" y="783452"/>
                </a:lnTo>
                <a:lnTo>
                  <a:pt x="8064337" y="17386"/>
                </a:lnTo>
                <a:moveTo>
                  <a:pt x="9007646" y="716729"/>
                </a:moveTo>
                <a:cubicBezTo>
                  <a:pt x="8916819" y="716729"/>
                  <a:pt x="8855949" y="652198"/>
                  <a:pt x="8855949" y="509823"/>
                </a:cubicBezTo>
                <a:cubicBezTo>
                  <a:pt x="8855949" y="366509"/>
                  <a:pt x="8916819" y="302918"/>
                  <a:pt x="9007646" y="302918"/>
                </a:cubicBezTo>
                <a:cubicBezTo>
                  <a:pt x="9098475" y="302918"/>
                  <a:pt x="9159343" y="366352"/>
                  <a:pt x="9159343" y="509823"/>
                </a:cubicBezTo>
                <a:cubicBezTo>
                  <a:pt x="9159502" y="652198"/>
                  <a:pt x="9098475" y="716729"/>
                  <a:pt x="9007646" y="716729"/>
                </a:cubicBezTo>
                <a:moveTo>
                  <a:pt x="9249219" y="17386"/>
                </a:moveTo>
                <a:lnTo>
                  <a:pt x="9157282" y="17386"/>
                </a:lnTo>
                <a:lnTo>
                  <a:pt x="9157282" y="341292"/>
                </a:lnTo>
                <a:cubicBezTo>
                  <a:pt x="9137309" y="281147"/>
                  <a:pt x="9088646" y="225231"/>
                  <a:pt x="8992271" y="225231"/>
                </a:cubicBezTo>
                <a:cubicBezTo>
                  <a:pt x="8868155" y="225231"/>
                  <a:pt x="8759732" y="321557"/>
                  <a:pt x="8759732" y="513113"/>
                </a:cubicBezTo>
                <a:cubicBezTo>
                  <a:pt x="8759732" y="706861"/>
                  <a:pt x="8868314" y="794416"/>
                  <a:pt x="8984504" y="794416"/>
                </a:cubicBezTo>
                <a:cubicBezTo>
                  <a:pt x="9072002" y="794416"/>
                  <a:pt x="9136200" y="744139"/>
                  <a:pt x="9157282" y="672873"/>
                </a:cubicBezTo>
                <a:lnTo>
                  <a:pt x="9157282" y="714536"/>
                </a:lnTo>
                <a:cubicBezTo>
                  <a:pt x="9157282" y="739753"/>
                  <a:pt x="9159502" y="767006"/>
                  <a:pt x="9162831" y="783452"/>
                </a:cubicBezTo>
                <a:lnTo>
                  <a:pt x="9255878" y="783452"/>
                </a:lnTo>
                <a:cubicBezTo>
                  <a:pt x="9251439" y="757139"/>
                  <a:pt x="9249219" y="718922"/>
                  <a:pt x="9249219" y="669584"/>
                </a:cubicBezTo>
                <a:lnTo>
                  <a:pt x="9249219" y="17386"/>
                </a:lnTo>
                <a:moveTo>
                  <a:pt x="5784131" y="1096"/>
                </a:moveTo>
                <a:cubicBezTo>
                  <a:pt x="5747515" y="1096"/>
                  <a:pt x="5718824" y="29603"/>
                  <a:pt x="5718824" y="65627"/>
                </a:cubicBezTo>
                <a:cubicBezTo>
                  <a:pt x="5718824" y="101808"/>
                  <a:pt x="5747673" y="129061"/>
                  <a:pt x="5784131" y="129061"/>
                </a:cubicBezTo>
                <a:cubicBezTo>
                  <a:pt x="5820747" y="129061"/>
                  <a:pt x="5848329" y="101651"/>
                  <a:pt x="5848329" y="65627"/>
                </a:cubicBezTo>
                <a:cubicBezTo>
                  <a:pt x="5848487" y="29446"/>
                  <a:pt x="5820747" y="1096"/>
                  <a:pt x="5784131" y="1096"/>
                </a:cubicBezTo>
                <a:moveTo>
                  <a:pt x="9428497" y="1096"/>
                </a:moveTo>
                <a:cubicBezTo>
                  <a:pt x="9391881" y="1096"/>
                  <a:pt x="9363190" y="29603"/>
                  <a:pt x="9363190" y="65627"/>
                </a:cubicBezTo>
                <a:cubicBezTo>
                  <a:pt x="9363190" y="101808"/>
                  <a:pt x="9392040" y="129061"/>
                  <a:pt x="9428497" y="129061"/>
                </a:cubicBezTo>
                <a:cubicBezTo>
                  <a:pt x="9465114" y="129061"/>
                  <a:pt x="9492696" y="101651"/>
                  <a:pt x="9492696" y="65627"/>
                </a:cubicBezTo>
                <a:cubicBezTo>
                  <a:pt x="9492696" y="29446"/>
                  <a:pt x="9465114" y="1096"/>
                  <a:pt x="9428497" y="1096"/>
                </a:cubicBezTo>
                <a:moveTo>
                  <a:pt x="10219159" y="1096"/>
                </a:moveTo>
                <a:cubicBezTo>
                  <a:pt x="10182543" y="1096"/>
                  <a:pt x="10153852" y="29603"/>
                  <a:pt x="10153852" y="65627"/>
                </a:cubicBezTo>
                <a:cubicBezTo>
                  <a:pt x="10153852" y="101808"/>
                  <a:pt x="10182701" y="129061"/>
                  <a:pt x="10219159" y="129061"/>
                </a:cubicBezTo>
                <a:cubicBezTo>
                  <a:pt x="10255775" y="129061"/>
                  <a:pt x="10283358" y="101651"/>
                  <a:pt x="10283358" y="65627"/>
                </a:cubicBezTo>
                <a:cubicBezTo>
                  <a:pt x="10283358" y="29446"/>
                  <a:pt x="10255618" y="1096"/>
                  <a:pt x="10219159" y="1096"/>
                </a:cubicBezTo>
                <a:moveTo>
                  <a:pt x="1651545" y="800994"/>
                </a:moveTo>
                <a:cubicBezTo>
                  <a:pt x="1836529" y="800994"/>
                  <a:pt x="1908494" y="691512"/>
                  <a:pt x="1908494" y="548197"/>
                </a:cubicBezTo>
                <a:lnTo>
                  <a:pt x="1908494" y="17542"/>
                </a:lnTo>
                <a:lnTo>
                  <a:pt x="1771222" y="17542"/>
                </a:lnTo>
                <a:lnTo>
                  <a:pt x="1771222" y="583282"/>
                </a:lnTo>
                <a:cubicBezTo>
                  <a:pt x="1771222" y="675222"/>
                  <a:pt x="1735715" y="729885"/>
                  <a:pt x="1651545" y="729885"/>
                </a:cubicBezTo>
                <a:cubicBezTo>
                  <a:pt x="1568484" y="729885"/>
                  <a:pt x="1531867" y="671933"/>
                  <a:pt x="1531867" y="572318"/>
                </a:cubicBezTo>
                <a:lnTo>
                  <a:pt x="1531867" y="467221"/>
                </a:lnTo>
                <a:lnTo>
                  <a:pt x="1394595" y="501209"/>
                </a:lnTo>
                <a:lnTo>
                  <a:pt x="1394595" y="548197"/>
                </a:lnTo>
                <a:cubicBezTo>
                  <a:pt x="1394595" y="691668"/>
                  <a:pt x="1466560" y="800994"/>
                  <a:pt x="1651545" y="800994"/>
                </a:cubicBezTo>
                <a:moveTo>
                  <a:pt x="920642" y="721114"/>
                </a:moveTo>
                <a:cubicBezTo>
                  <a:pt x="814280" y="721114"/>
                  <a:pt x="748973" y="635752"/>
                  <a:pt x="748973" y="544908"/>
                </a:cubicBezTo>
                <a:cubicBezTo>
                  <a:pt x="748973" y="488052"/>
                  <a:pt x="774493" y="435425"/>
                  <a:pt x="816499" y="405979"/>
                </a:cubicBezTo>
                <a:lnTo>
                  <a:pt x="1066791" y="676319"/>
                </a:lnTo>
                <a:cubicBezTo>
                  <a:pt x="1020188" y="703572"/>
                  <a:pt x="968196" y="721114"/>
                  <a:pt x="920642" y="721114"/>
                </a:cubicBezTo>
                <a:moveTo>
                  <a:pt x="1054585" y="329388"/>
                </a:moveTo>
                <a:cubicBezTo>
                  <a:pt x="1144304" y="329388"/>
                  <a:pt x="1199625" y="380762"/>
                  <a:pt x="1199625" y="469413"/>
                </a:cubicBezTo>
                <a:cubicBezTo>
                  <a:pt x="1199625" y="508884"/>
                  <a:pt x="1188529" y="549294"/>
                  <a:pt x="1164118" y="586571"/>
                </a:cubicBezTo>
                <a:lnTo>
                  <a:pt x="947114" y="350220"/>
                </a:lnTo>
                <a:cubicBezTo>
                  <a:pt x="985949" y="334870"/>
                  <a:pt x="1023517" y="329388"/>
                  <a:pt x="1054585" y="329388"/>
                </a:cubicBezTo>
                <a:moveTo>
                  <a:pt x="920642" y="57952"/>
                </a:moveTo>
                <a:cubicBezTo>
                  <a:pt x="985949" y="57952"/>
                  <a:pt x="1024785" y="95230"/>
                  <a:pt x="1024785" y="163050"/>
                </a:cubicBezTo>
                <a:cubicBezTo>
                  <a:pt x="1024785" y="225387"/>
                  <a:pt x="993717" y="284593"/>
                  <a:pt x="917313" y="318424"/>
                </a:cubicBezTo>
                <a:lnTo>
                  <a:pt x="869760" y="265954"/>
                </a:lnTo>
                <a:cubicBezTo>
                  <a:pt x="827595" y="220062"/>
                  <a:pt x="815548" y="191556"/>
                  <a:pt x="815548" y="157568"/>
                </a:cubicBezTo>
                <a:cubicBezTo>
                  <a:pt x="815390" y="94133"/>
                  <a:pt x="856286" y="57952"/>
                  <a:pt x="920642" y="57952"/>
                </a:cubicBezTo>
                <a:moveTo>
                  <a:pt x="1198515" y="623692"/>
                </a:moveTo>
                <a:cubicBezTo>
                  <a:pt x="1258274" y="553679"/>
                  <a:pt x="1292672" y="477088"/>
                  <a:pt x="1292672" y="410208"/>
                </a:cubicBezTo>
                <a:cubicBezTo>
                  <a:pt x="1292672" y="327039"/>
                  <a:pt x="1236241" y="271279"/>
                  <a:pt x="1147632" y="271279"/>
                </a:cubicBezTo>
                <a:cubicBezTo>
                  <a:pt x="1101188" y="271279"/>
                  <a:pt x="1049038" y="284436"/>
                  <a:pt x="1014799" y="297593"/>
                </a:cubicBezTo>
                <a:lnTo>
                  <a:pt x="1012580" y="293207"/>
                </a:lnTo>
                <a:cubicBezTo>
                  <a:pt x="1096750" y="248412"/>
                  <a:pt x="1132257" y="206749"/>
                  <a:pt x="1132257" y="148796"/>
                </a:cubicBezTo>
                <a:cubicBezTo>
                  <a:pt x="1132257" y="65627"/>
                  <a:pt x="1056963" y="0"/>
                  <a:pt x="923971" y="0"/>
                </a:cubicBezTo>
                <a:cubicBezTo>
                  <a:pt x="771165" y="0"/>
                  <a:pt x="695871" y="84266"/>
                  <a:pt x="695871" y="189363"/>
                </a:cubicBezTo>
                <a:cubicBezTo>
                  <a:pt x="695871" y="246219"/>
                  <a:pt x="720282" y="303231"/>
                  <a:pt x="784480" y="372148"/>
                </a:cubicBezTo>
                <a:lnTo>
                  <a:pt x="785589" y="374340"/>
                </a:lnTo>
                <a:cubicBezTo>
                  <a:pt x="677008" y="425714"/>
                  <a:pt x="627235" y="508884"/>
                  <a:pt x="627235" y="594246"/>
                </a:cubicBezTo>
                <a:cubicBezTo>
                  <a:pt x="627235" y="707018"/>
                  <a:pt x="714734" y="801151"/>
                  <a:pt x="849787" y="801151"/>
                </a:cubicBezTo>
                <a:cubicBezTo>
                  <a:pt x="927300" y="801151"/>
                  <a:pt x="1018128" y="769356"/>
                  <a:pt x="1100079" y="712500"/>
                </a:cubicBezTo>
                <a:lnTo>
                  <a:pt x="1166496" y="783609"/>
                </a:lnTo>
                <a:lnTo>
                  <a:pt x="1340384" y="783609"/>
                </a:lnTo>
                <a:lnTo>
                  <a:pt x="1340384" y="778127"/>
                </a:lnTo>
                <a:lnTo>
                  <a:pt x="1198515" y="623692"/>
                </a:lnTo>
                <a:close/>
                <a:moveTo>
                  <a:pt x="256949" y="800994"/>
                </a:moveTo>
                <a:cubicBezTo>
                  <a:pt x="441934" y="800994"/>
                  <a:pt x="513898" y="691512"/>
                  <a:pt x="513898" y="548197"/>
                </a:cubicBezTo>
                <a:lnTo>
                  <a:pt x="513898" y="17542"/>
                </a:lnTo>
                <a:lnTo>
                  <a:pt x="376626" y="17542"/>
                </a:lnTo>
                <a:lnTo>
                  <a:pt x="376626" y="583282"/>
                </a:lnTo>
                <a:cubicBezTo>
                  <a:pt x="376626" y="675222"/>
                  <a:pt x="341120" y="729885"/>
                  <a:pt x="256949" y="729885"/>
                </a:cubicBezTo>
                <a:cubicBezTo>
                  <a:pt x="173889" y="729885"/>
                  <a:pt x="137272" y="671933"/>
                  <a:pt x="137272" y="572318"/>
                </a:cubicBezTo>
                <a:lnTo>
                  <a:pt x="137272" y="467221"/>
                </a:lnTo>
                <a:lnTo>
                  <a:pt x="0" y="501209"/>
                </a:lnTo>
                <a:lnTo>
                  <a:pt x="0" y="548197"/>
                </a:lnTo>
                <a:cubicBezTo>
                  <a:pt x="0" y="691668"/>
                  <a:pt x="71965" y="800994"/>
                  <a:pt x="256949" y="800994"/>
                </a:cubicBezTo>
              </a:path>
            </a:pathLst>
          </a:custGeom>
          <a:solidFill>
            <a:schemeClr val="tx2"/>
          </a:solidFill>
          <a:ln w="1584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9156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  <p:sldLayoutId id="2147483794" r:id="rId25"/>
    <p:sldLayoutId id="2147483795" r:id="rId26"/>
    <p:sldLayoutId id="2147483796" r:id="rId27"/>
    <p:sldLayoutId id="2147483797" r:id="rId28"/>
    <p:sldLayoutId id="2147483798" r:id="rId29"/>
    <p:sldLayoutId id="2147483799" r:id="rId30"/>
    <p:sldLayoutId id="2147483800" r:id="rId31"/>
    <p:sldLayoutId id="2147483801" r:id="rId32"/>
    <p:sldLayoutId id="2147483802" r:id="rId33"/>
    <p:sldLayoutId id="2147483803" r:id="rId34"/>
    <p:sldLayoutId id="2147483804" r:id="rId35"/>
    <p:sldLayoutId id="2147483805" r:id="rId36"/>
    <p:sldLayoutId id="2147483806" r:id="rId37"/>
    <p:sldLayoutId id="2147483807" r:id="rId38"/>
    <p:sldLayoutId id="2147483808" r:id="rId39"/>
    <p:sldLayoutId id="2147483809" r:id="rId40"/>
    <p:sldLayoutId id="2147483810" r:id="rId41"/>
    <p:sldLayoutId id="2147483811" r:id="rId42"/>
    <p:sldLayoutId id="2147483812" r:id="rId43"/>
    <p:sldLayoutId id="2147483813" r:id="rId44"/>
    <p:sldLayoutId id="2147483814" r:id="rId45"/>
    <p:sldLayoutId id="2147483815" r:id="rId46"/>
    <p:sldLayoutId id="2147483816" r:id="rId47"/>
    <p:sldLayoutId id="2147483817" r:id="rId48"/>
    <p:sldLayoutId id="2147483818" r:id="rId49"/>
    <p:sldLayoutId id="2147483819" r:id="rId50"/>
    <p:sldLayoutId id="2147483820" r:id="rId51"/>
    <p:sldLayoutId id="2147483821" r:id="rId52"/>
    <p:sldLayoutId id="2147483822" r:id="rId53"/>
    <p:sldLayoutId id="2147483823" r:id="rId54"/>
    <p:sldLayoutId id="2147483824" r:id="rId55"/>
    <p:sldLayoutId id="2147483825" r:id="rId56"/>
    <p:sldLayoutId id="2147483826" r:id="rId57"/>
    <p:sldLayoutId id="2147483827" r:id="rId58"/>
    <p:sldLayoutId id="2147483828" r:id="rId59"/>
    <p:sldLayoutId id="2147483829" r:id="rId60"/>
    <p:sldLayoutId id="2147483830" r:id="rId61"/>
    <p:sldLayoutId id="2147483831" r:id="rId62"/>
    <p:sldLayoutId id="2147483832" r:id="rId63"/>
    <p:sldLayoutId id="2147483833" r:id="rId64"/>
    <p:sldLayoutId id="2147483834" r:id="rId65"/>
    <p:sldLayoutId id="2147483835" r:id="rId66"/>
    <p:sldLayoutId id="2147483836" r:id="rId67"/>
    <p:sldLayoutId id="2147483837" r:id="rId68"/>
    <p:sldLayoutId id="2147483838" r:id="rId69"/>
    <p:sldLayoutId id="2147483839" r:id="rId70"/>
    <p:sldLayoutId id="2147483840" r:id="rId71"/>
    <p:sldLayoutId id="2147483841" r:id="rId72"/>
    <p:sldLayoutId id="2147483842" r:id="rId73"/>
    <p:sldLayoutId id="2147483843" r:id="rId74"/>
    <p:sldLayoutId id="2147483844" r:id="rId75"/>
    <p:sldLayoutId id="2147483845" r:id="rId76"/>
    <p:sldLayoutId id="2147483846" r:id="rId77"/>
    <p:sldLayoutId id="2147483847" r:id="rId78"/>
    <p:sldLayoutId id="2147483848" r:id="rId79"/>
    <p:sldLayoutId id="2147483849" r:id="rId80"/>
    <p:sldLayoutId id="2147483850" r:id="rId81"/>
    <p:sldLayoutId id="2147483851" r:id="rId82"/>
    <p:sldLayoutId id="2147483852" r:id="rId83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tabLst/>
        <a:defRPr sz="18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636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−"/>
        <a:tabLst/>
        <a:defRPr lang="en-US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25" pos="7496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52">
          <p15:clr>
            <a:srgbClr val="F26B43"/>
          </p15:clr>
        </p15:guide>
        <p15:guide id="39" orient="horz" pos="73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55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microsoft.com/office/2018/10/relationships/comments" Target="../comments/modernComment_7FFFFFF0_806829C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EC91AC-C302-AEC3-1CD4-A5616037B7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6835" y="1637504"/>
            <a:ext cx="10677363" cy="3930563"/>
          </a:xfrm>
        </p:spPr>
        <p:txBody>
          <a:bodyPr>
            <a:noAutofit/>
          </a:bodyPr>
          <a:lstStyle/>
          <a:p>
            <a:r>
              <a:rPr lang="en-US" sz="6600" noProof="0">
                <a:latin typeface="Johnson Display Light" panose="00000400000000000000" pitchFamily="2" charset="0"/>
              </a:rPr>
              <a:t>ICONIC Phase 3 </a:t>
            </a:r>
            <a:r>
              <a:rPr lang="en-US" sz="6600">
                <a:latin typeface="Johnson Display Light" panose="00000400000000000000" pitchFamily="2" charset="0"/>
              </a:rPr>
              <a:t>UC H2H </a:t>
            </a:r>
            <a:br>
              <a:rPr lang="en-US" sz="6600" noProof="0">
                <a:latin typeface="Johnson Display Light" panose="00000400000000000000" pitchFamily="2" charset="0"/>
              </a:rPr>
            </a:br>
            <a:r>
              <a:rPr lang="en-US" sz="4800" noProof="0">
                <a:latin typeface="Johnson Display Light" panose="00000400000000000000" pitchFamily="2" charset="0"/>
              </a:rPr>
              <a:t>Program Update and Country Outreach</a:t>
            </a:r>
            <a:br>
              <a:rPr lang="en-US" sz="6600" noProof="0">
                <a:latin typeface="Johnson Display Light" panose="00000400000000000000" pitchFamily="2" charset="0"/>
              </a:rPr>
            </a:br>
            <a:br>
              <a:rPr lang="en-US" sz="6600" noProof="0">
                <a:latin typeface="Johnson Display Light" panose="00000400000000000000" pitchFamily="2" charset="0"/>
              </a:rPr>
            </a:br>
            <a:r>
              <a:rPr lang="en-US" sz="3200" noProof="0">
                <a:latin typeface="Johnson Display Light" panose="00000400000000000000" pitchFamily="2" charset="0"/>
              </a:rPr>
              <a:t>09April2026</a:t>
            </a:r>
            <a:endParaRPr lang="en-US" sz="6600" noProof="0">
              <a:latin typeface="Johnson Display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579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0EC7DD-EC5F-A1D4-190C-64D6D28E2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10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C44272-03EE-03CC-9D01-D7B33A36C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366" y="171969"/>
            <a:ext cx="9649446" cy="468590"/>
          </a:xfrm>
        </p:spPr>
        <p:txBody>
          <a:bodyPr/>
          <a:lstStyle/>
          <a:p>
            <a:r>
              <a:rPr lang="en-US"/>
              <a:t>Ideal Site Profile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91DF5A-CADA-1F6C-7D69-6900561E5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39888"/>
              </p:ext>
            </p:extLst>
          </p:nvPr>
        </p:nvGraphicFramePr>
        <p:xfrm>
          <a:off x="1269016" y="660475"/>
          <a:ext cx="10214728" cy="596377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49517">
                  <a:extLst>
                    <a:ext uri="{9D8B030D-6E8A-4147-A177-3AD203B41FA5}">
                      <a16:colId xmlns:a16="http://schemas.microsoft.com/office/drawing/2014/main" val="1825624865"/>
                    </a:ext>
                  </a:extLst>
                </a:gridCol>
                <a:gridCol w="7665211">
                  <a:extLst>
                    <a:ext uri="{9D8B030D-6E8A-4147-A177-3AD203B41FA5}">
                      <a16:colId xmlns:a16="http://schemas.microsoft.com/office/drawing/2014/main" val="2315205680"/>
                    </a:ext>
                  </a:extLst>
                </a:gridCol>
              </a:tblGrid>
              <a:tr h="1086970">
                <a:tc>
                  <a:txBody>
                    <a:bodyPr/>
                    <a:lstStyle/>
                    <a:p>
                      <a:pPr fontAlgn="base">
                        <a:lnSpc>
                          <a:spcPts val="1650"/>
                        </a:lnSpc>
                        <a:buNone/>
                      </a:pPr>
                      <a:r>
                        <a:rPr lang="en-US" sz="1400">
                          <a:effectLst/>
                        </a:rPr>
                        <a:t>Specialty │ Site Type</a:t>
                      </a:r>
                      <a:endParaRPr lang="en-US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effectLst/>
                        </a:rPr>
                        <a:t>PI specialty Gastroenterology, if not, Sub-I specialty must be Gastroenterology</a:t>
                      </a:r>
                      <a:endParaRPr lang="en-US" sz="2000">
                        <a:effectLst/>
                      </a:endParaRP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effectLst/>
                        </a:rPr>
                        <a:t>University, hospital-based or standalone, community-based practices</a:t>
                      </a:r>
                      <a:endParaRPr lang="en-US" sz="2000">
                        <a:effectLst/>
                      </a:endParaRP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effectLst/>
                        </a:rPr>
                        <a:t>IBD Clinic, GI Clinic/Digestive Clinic, Research Center </a:t>
                      </a:r>
                      <a:endParaRPr lang="en-US" sz="200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607397"/>
                  </a:ext>
                </a:extLst>
              </a:tr>
              <a:tr h="1080011">
                <a:tc>
                  <a:txBody>
                    <a:bodyPr/>
                    <a:lstStyle/>
                    <a:p>
                      <a:pPr fontAlgn="base">
                        <a:lnSpc>
                          <a:spcPts val="1650"/>
                        </a:lnSpc>
                        <a:buNone/>
                      </a:pPr>
                      <a:r>
                        <a:rPr lang="en-US" sz="1400">
                          <a:effectLst/>
                        </a:rPr>
                        <a:t>Experience │ Capability</a:t>
                      </a:r>
                      <a:endParaRPr lang="en-US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Phase 2 or 3 IBD clinical trial experience</a:t>
                      </a: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With recent J&amp;J IBD experience preferred, prioritizing high enrolling sites</a:t>
                      </a: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Experience performing efficacy procedures/assessments, i.e., Full/Modified/Partial Mayo score</a:t>
                      </a: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Video endoscopy (histology assessments)</a:t>
                      </a: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Inflammatory PD markers (CRP and fecal calprotectin)</a:t>
                      </a:r>
                    </a:p>
                    <a:p>
                      <a:pPr marL="17145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PRO measures to assess symptom severity, functioning, and 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HRQoL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including: IBDQ, PROMIS 29, and PROMIS Fatigue Short Form 7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2665440"/>
                  </a:ext>
                </a:extLst>
              </a:tr>
              <a:tr h="2521323">
                <a:tc>
                  <a:txBody>
                    <a:bodyPr/>
                    <a:lstStyle/>
                    <a:p>
                      <a:pPr fontAlgn="base">
                        <a:lnSpc>
                          <a:spcPts val="1650"/>
                        </a:lnSpc>
                        <a:buNone/>
                      </a:pPr>
                      <a:r>
                        <a:rPr lang="en-US" sz="1400">
                          <a:effectLst/>
                        </a:rPr>
                        <a:t>Operational Considerations</a:t>
                      </a:r>
                      <a:endParaRPr lang="en-US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Access to large pool of patients with moderately to severely active Ulcerative Colitis who are naïve to advanced therapies (ADT-naïve) and who had an inadequate response or failure to tolerate biologics or oral small</a:t>
                      </a:r>
                      <a:r>
                        <a:rPr lang="en-US" sz="1400" b="1" dirty="0">
                          <a:effectLst/>
                        </a:rPr>
                        <a:t> </a:t>
                      </a:r>
                      <a:r>
                        <a:rPr lang="en-US" sz="1400" b="0" dirty="0">
                          <a:effectLst/>
                        </a:rPr>
                        <a:t>molecule therapies (i.e., ADT-IR)</a:t>
                      </a:r>
                    </a:p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effectLst/>
                        </a:rPr>
                        <a:t>Access to patients without prior exposure to anti-IL23p19 antibodies or compounds targeting the IL-23R. </a:t>
                      </a:r>
                    </a:p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effectLst/>
                        </a:rPr>
                        <a:t>Access to patients without prior exposure to vedolizumab.</a:t>
                      </a:r>
                    </a:p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ADT-IR will comprise a minimum of approximately 40% and a maximum of approximately 50% of the population.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proportion of participants with inadequate response (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mary or secondary nonresponse) or intolerance to ≥3 approved advanced therapies (agents, not number of classes) as listed above (in biologic or oral advanced therapies section) will be limited to 15% of the ADT-IR population.</a:t>
                      </a:r>
                    </a:p>
                    <a:p>
                      <a:pPr marL="171450" lvl="0" indent="-17145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number of participants with inadequate response (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mary or secondary nonresponse) or intolerance to ustekinumab will be capped at 20% of the ADT-IR population.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56690314"/>
                  </a:ext>
                </a:extLst>
              </a:tr>
            </a:tbl>
          </a:graphicData>
        </a:graphic>
      </p:graphicFrame>
      <p:sp>
        <p:nvSpPr>
          <p:cNvPr id="2" name="Star: 4 Points 1">
            <a:extLst>
              <a:ext uri="{FF2B5EF4-FFF2-40B4-BE49-F238E27FC236}">
                <a16:creationId xmlns:a16="http://schemas.microsoft.com/office/drawing/2014/main" id="{65C8BC12-8B42-E05C-B47F-A69A9345CE0F}"/>
              </a:ext>
            </a:extLst>
          </p:cNvPr>
          <p:cNvSpPr/>
          <p:nvPr/>
        </p:nvSpPr>
        <p:spPr>
          <a:xfrm>
            <a:off x="750911" y="988150"/>
            <a:ext cx="464544" cy="473726"/>
          </a:xfrm>
          <a:prstGeom prst="star4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1858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EB969-1799-F23A-6ABA-3F5982A28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test Assumptions on ICONIC UC H2H Trial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5320B05-9409-7987-A2AB-432740B661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11334"/>
              </p:ext>
            </p:extLst>
          </p:nvPr>
        </p:nvGraphicFramePr>
        <p:xfrm>
          <a:off x="288303" y="1416874"/>
          <a:ext cx="11503664" cy="42562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754308">
                  <a:extLst>
                    <a:ext uri="{9D8B030D-6E8A-4147-A177-3AD203B41FA5}">
                      <a16:colId xmlns:a16="http://schemas.microsoft.com/office/drawing/2014/main" val="1126352964"/>
                    </a:ext>
                  </a:extLst>
                </a:gridCol>
                <a:gridCol w="7749356">
                  <a:extLst>
                    <a:ext uri="{9D8B030D-6E8A-4147-A177-3AD203B41FA5}">
                      <a16:colId xmlns:a16="http://schemas.microsoft.com/office/drawing/2014/main" val="3756296701"/>
                    </a:ext>
                  </a:extLst>
                </a:gridCol>
              </a:tblGrid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ICONIC UC H2H stud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*Baseline scenari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5076237"/>
                  </a:ext>
                </a:extLst>
              </a:tr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6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7560400"/>
                  </a:ext>
                </a:extLst>
              </a:tr>
              <a:tr h="546678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Patient Popu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Patients with moderate to severe ulcerative colitis not previously exposed to vedolizuma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5822422"/>
                  </a:ext>
                </a:extLst>
              </a:tr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Si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~3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4653293"/>
                  </a:ext>
                </a:extLst>
              </a:tr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Count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34489757"/>
                  </a:ext>
                </a:extLst>
              </a:tr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Enrollment peri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~11 Months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6973799"/>
                  </a:ext>
                </a:extLst>
              </a:tr>
              <a:tr h="480061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Pts/Site/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~0.16 - 0.18 psm</a:t>
                      </a:r>
                      <a:endParaRPr lang="en-US" sz="1600" err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3504579"/>
                  </a:ext>
                </a:extLst>
              </a:tr>
              <a:tr h="829196"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FSO/F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FSO: Mid Jan 2027</a:t>
                      </a:r>
                    </a:p>
                    <a:p>
                      <a:r>
                        <a:rPr lang="en-US" sz="1600">
                          <a:latin typeface="Calibri"/>
                          <a:ea typeface="Calibri"/>
                          <a:cs typeface="Calibri"/>
                        </a:rPr>
                        <a:t>FPI: 02 Feb 2027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758533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8CA2D13-5372-5554-6486-4C1439ADBB8B}"/>
              </a:ext>
            </a:extLst>
          </p:cNvPr>
          <p:cNvSpPr txBox="1"/>
          <p:nvPr/>
        </p:nvSpPr>
        <p:spPr>
          <a:xfrm>
            <a:off x="288303" y="730857"/>
            <a:ext cx="1120185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The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trong momentum from ANTHEM UC and Phase 3 ICONIC UC </a:t>
            </a: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is expected to continue in the ICO UC H2H study</a:t>
            </a:r>
          </a:p>
        </p:txBody>
      </p:sp>
    </p:spTree>
    <p:extLst>
      <p:ext uri="{BB962C8B-B14F-4D97-AF65-F5344CB8AC3E}">
        <p14:creationId xmlns:p14="http://schemas.microsoft.com/office/powerpoint/2010/main" val="1976166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9CA9C-03FB-59AB-85B2-BE8151C5F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C H2H benchmarks: Review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7F4A-B8CA-FE03-97F6-A7173EF91D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E23AC92-A419-A4BF-22B3-D57537BFD4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565807"/>
              </p:ext>
            </p:extLst>
          </p:nvPr>
        </p:nvGraphicFramePr>
        <p:xfrm>
          <a:off x="288256" y="4659093"/>
          <a:ext cx="11610972" cy="19100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60777">
                  <a:extLst>
                    <a:ext uri="{9D8B030D-6E8A-4147-A177-3AD203B41FA5}">
                      <a16:colId xmlns:a16="http://schemas.microsoft.com/office/drawing/2014/main" val="2626164580"/>
                    </a:ext>
                  </a:extLst>
                </a:gridCol>
                <a:gridCol w="10750195">
                  <a:extLst>
                    <a:ext uri="{9D8B030D-6E8A-4147-A177-3AD203B41FA5}">
                      <a16:colId xmlns:a16="http://schemas.microsoft.com/office/drawing/2014/main" val="2112905225"/>
                    </a:ext>
                  </a:extLst>
                </a:gridCol>
              </a:tblGrid>
              <a:tr h="28273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Trial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Countries in most recent or ongoing UC H2Hs </a:t>
                      </a: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2564002755"/>
                  </a:ext>
                </a:extLst>
              </a:tr>
              <a:tr h="46651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Eli Lily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rgentina; Australia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Austria; Belgium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Brazil; Canada; Croatia; Czech Republic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Denmark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France; Germany; Hungary; India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Italy; Japan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Latvia; Lithuania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Malaysia; Mexic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Netherlands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oland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Portugal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Romania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Russia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erbia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Slovakia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outh Africa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South Korea; Spain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witzerland; Turkey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Ukraine; United Kingdom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United States</a:t>
                      </a:r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2072426202"/>
                  </a:ext>
                </a:extLst>
              </a:tr>
              <a:tr h="28273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olpharma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Albania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ustralia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; Bosnia and Herzegovina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Brazil; Bulgaria; Czech Republic; </a:t>
                      </a:r>
                      <a:r>
                        <a:rPr lang="en-US" sz="100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Georgia;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Hungary; India; Israel; Latvia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Moldova Republic;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Poland; Romania;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Slovakia; </a:t>
                      </a:r>
                      <a:r>
                        <a:rPr lang="en-US" sz="100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outh Africa; Turkey</a:t>
                      </a:r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2288612432"/>
                  </a:ext>
                </a:extLst>
              </a:tr>
              <a:tr h="28273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u="none" strike="noStrike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lvotech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rgentina;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 Bosnia and Herzegovina; </a:t>
                      </a:r>
                      <a:r>
                        <a:rPr lang="en-US" sz="1000" u="none" strike="noStrike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Bulgaria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; Colombia; </a:t>
                      </a:r>
                      <a:r>
                        <a:rPr lang="en-US" sz="1000" u="none" strike="noStrike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Croatia; </a:t>
                      </a: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Georgia;</a:t>
                      </a:r>
                      <a:r>
                        <a:rPr lang="en-US" sz="1000" u="none" strike="noStrike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India; Italy; Latvia; Mexico; Peru; Poland; Romania; Serbia; 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Slovakia; Sri Lanka; Ukrain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1787941455"/>
                  </a:ext>
                </a:extLst>
              </a:tr>
              <a:tr h="28273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bbVie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ustria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Brazil, Bulgaria, Canada, China, Croatia, Estonia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Finland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Germany, Hungary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, Ireland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Israel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Italy,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Latvia, Lithuania, Mexico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Netherlands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oland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, Puerto Rico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audi Arabia, Slovenia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South Korea, Spain, Sweden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Switzerland, Taiwan, </a:t>
                      </a: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United Arab Emirates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, United Kingdom, </a:t>
                      </a:r>
                      <a:r>
                        <a:rPr lang="en-US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United States</a:t>
                      </a: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149473390"/>
                  </a:ext>
                </a:extLst>
              </a:tr>
              <a:tr h="28273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bbVie</a:t>
                      </a:r>
                    </a:p>
                  </a:txBody>
                  <a:tcPr marL="7810" marR="7810" marT="7810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t yet available</a:t>
                      </a:r>
                    </a:p>
                  </a:txBody>
                  <a:tcPr marL="7810" marR="7810" marT="7810" marB="0" anchor="ctr"/>
                </a:tc>
                <a:extLst>
                  <a:ext uri="{0D108BD9-81ED-4DB2-BD59-A6C34878D82A}">
                    <a16:rowId xmlns:a16="http://schemas.microsoft.com/office/drawing/2014/main" val="268428794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EAB7764-0493-F899-E811-99137D8EE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455541"/>
              </p:ext>
            </p:extLst>
          </p:nvPr>
        </p:nvGraphicFramePr>
        <p:xfrm>
          <a:off x="288258" y="1251473"/>
          <a:ext cx="11610973" cy="327032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978726">
                  <a:extLst>
                    <a:ext uri="{9D8B030D-6E8A-4147-A177-3AD203B41FA5}">
                      <a16:colId xmlns:a16="http://schemas.microsoft.com/office/drawing/2014/main" val="472784132"/>
                    </a:ext>
                  </a:extLst>
                </a:gridCol>
                <a:gridCol w="672311">
                  <a:extLst>
                    <a:ext uri="{9D8B030D-6E8A-4147-A177-3AD203B41FA5}">
                      <a16:colId xmlns:a16="http://schemas.microsoft.com/office/drawing/2014/main" val="43271046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978164937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1585344359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180187286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87613671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1372266967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2304780942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1301118518"/>
                    </a:ext>
                  </a:extLst>
                </a:gridCol>
                <a:gridCol w="744992">
                  <a:extLst>
                    <a:ext uri="{9D8B030D-6E8A-4147-A177-3AD203B41FA5}">
                      <a16:colId xmlns:a16="http://schemas.microsoft.com/office/drawing/2014/main" val="1031854560"/>
                    </a:ext>
                  </a:extLst>
                </a:gridCol>
              </a:tblGrid>
              <a:tr h="388204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ial Titl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ial Phas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ial Statu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nrollment Dur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/S/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rget 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it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/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untri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ts/Country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96667196"/>
                  </a:ext>
                </a:extLst>
              </a:tr>
              <a:tr h="57642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A Phase 3b, Randomized, Double-Blind, Parallel-Arm, Placebo- and Active- Controlled Treat-Through Study of </a:t>
                      </a:r>
                      <a:r>
                        <a:rPr lang="en-US" sz="1000" u="none" strike="noStrike" dirty="0" err="1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Mirikizumab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 and </a:t>
                      </a:r>
                      <a:r>
                        <a:rPr lang="en-US" sz="1000" u="none" strike="noStrike" dirty="0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Vedolizumab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 in Participants With Moderately to Severely Active Ulcerative Colitis, </a:t>
                      </a:r>
                      <a:r>
                        <a:rPr lang="en-US" sz="1000" b="1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Eli Lilly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rminated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17030781"/>
                  </a:ext>
                </a:extLst>
              </a:tr>
              <a:tr h="76464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A Randomized, Double-blind, Multicenter Phase 3 Study in Patients With Moderately to Severely Active Ulcerative Colitis (UC) to Compare the Efficacy, Safety and Immunogenicity of PB016 and </a:t>
                      </a:r>
                      <a:r>
                        <a:rPr lang="en-US" sz="1000" u="none" strike="noStrike" dirty="0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Entyvio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® for the Induction and Maintenance of Clinical Response and Remission, </a:t>
                      </a:r>
                      <a:r>
                        <a:rPr lang="en-US" sz="1000" b="1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Polpharm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en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16 – TB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80321536"/>
                  </a:ext>
                </a:extLst>
              </a:tr>
              <a:tr h="57642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Parallel-Group Treatment, Double-Blind, 2-Arm to Investigate Comparative Efficacy Safety Immunogenicity Between Intravenous AVT16 and </a:t>
                      </a:r>
                      <a:r>
                        <a:rPr lang="en-US" sz="1000" u="none" strike="noStrike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Entyvi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® in Male and Female Subjects 18 to 80 Years Inclusive, Moderate to Severe Ulcerative Colitis, </a:t>
                      </a:r>
                      <a:r>
                        <a:rPr lang="en-US" sz="1000" b="1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Alvotech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en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7546941"/>
                  </a:ext>
                </a:extLst>
              </a:tr>
              <a:tr h="57642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hase 3b, Multicenter, Randomized, Open-Label Study of </a:t>
                      </a:r>
                      <a:r>
                        <a:rPr lang="en-US" sz="1000" b="0" i="0" u="none" strike="noStrike" dirty="0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Risankizuma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Compared to </a:t>
                      </a:r>
                      <a:r>
                        <a:rPr lang="en-US" sz="1000" b="0" i="0" u="none" strike="noStrike" dirty="0">
                          <a:solidFill>
                            <a:schemeClr val="accent5">
                              <a:lumMod val="49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Vedolizuma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for the Treatment of Adult Subjects With Moderate to Severe Ulcerative Colitis Who Are Naïve to Targeted Therapies, 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AbbV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0.07 – TBD; 0.09 as of Jan26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1984844"/>
                  </a:ext>
                </a:extLst>
              </a:tr>
              <a:tr h="388204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parison of Medical RESCUE Strategies for Patients With Steroid-refractory Acute Severe Ulcerative Colitis: an Open-label Randomized Controlled Trial (RESCUE-UC).</a:t>
                      </a: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bbVi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617147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18183D-50A9-4D23-C225-6B5ED4064DEF}"/>
              </a:ext>
            </a:extLst>
          </p:cNvPr>
          <p:cNvSpPr txBox="1"/>
          <p:nvPr/>
        </p:nvSpPr>
        <p:spPr>
          <a:xfrm>
            <a:off x="288258" y="837182"/>
            <a:ext cx="1161097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800" kern="1200">
                <a:latin typeface="+mn-lt"/>
                <a:ea typeface="+mn-ea"/>
                <a:cs typeface="+mn-cs"/>
              </a:rPr>
              <a:t>There are limited </a:t>
            </a:r>
            <a:r>
              <a:rPr lang="en-US"/>
              <a:t>recently</a:t>
            </a:r>
            <a:r>
              <a:rPr lang="en-US" sz="1800" kern="1200">
                <a:latin typeface="+mn-lt"/>
                <a:ea typeface="+mn-ea"/>
                <a:cs typeface="+mn-cs"/>
              </a:rPr>
              <a:t> </a:t>
            </a:r>
            <a:r>
              <a:rPr lang="en-US"/>
              <a:t>completed </a:t>
            </a:r>
            <a:r>
              <a:rPr lang="en-US" sz="1800" kern="1200">
                <a:latin typeface="+mn-lt"/>
                <a:ea typeface="+mn-ea"/>
                <a:cs typeface="+mn-cs"/>
              </a:rPr>
              <a:t>H2H trials in moderate to severe U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9ABC56-D93A-D351-4433-4F3C02DE6018}"/>
              </a:ext>
            </a:extLst>
          </p:cNvPr>
          <p:cNvSpPr txBox="1"/>
          <p:nvPr/>
        </p:nvSpPr>
        <p:spPr>
          <a:xfrm>
            <a:off x="297655" y="6607968"/>
            <a:ext cx="6825039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00B050"/>
                </a:solidFill>
                <a:latin typeface="Calibri"/>
                <a:ea typeface="Calibri"/>
                <a:cs typeface="Calibri"/>
              </a:rPr>
              <a:t>In green, countries overlap with current country list for country outreach </a:t>
            </a:r>
            <a:endParaRPr lang="en-US" sz="1100" kern="1200">
              <a:solidFill>
                <a:srgbClr val="00B050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263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A788-02F3-6F27-57D3-39EA8D444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of expec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4ECDA8-54B0-0666-1B49-6FFB36352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3" y="1204912"/>
            <a:ext cx="11610516" cy="4448175"/>
          </a:xfrm>
        </p:spPr>
        <p:txBody>
          <a:bodyPr vert="horz" lIns="0" tIns="0" rIns="0" bIns="0" rtlCol="0" anchor="t">
            <a:noAutofit/>
          </a:bodyPr>
          <a:lstStyle/>
          <a:p>
            <a:pPr marL="342900" marR="0" lvl="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Based on ANTHEM UC and ongoing Phase 3 ICONIC UC experience, the ICO UC H2H study is expected to achieve accelerated enrollment, with recruitment rates of approximately 0.15–0.18 patients/site/month. </a:t>
            </a:r>
          </a:p>
          <a:p>
            <a:pPr marL="342900" marR="0" lvl="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The active‑comparator design (</a:t>
            </a:r>
            <a:r>
              <a:rPr lang="en-US" sz="1600" dirty="0" err="1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icotrokinra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vs vedolizumab), absence of placebo, and strong value proposition are expected to drive high site and patient engagement, supporting enrollment performance comparable to or slightly faster than ANTHEM UC and the Phase 3 ICONIC UC trial. </a:t>
            </a:r>
            <a:endParaRPr lang="en-US" sz="16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Exclusion of 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participants with prior exposure to  compounds targeting IL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‑23 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p19 (</a:t>
            </a:r>
            <a:r>
              <a:rPr lang="en-US" sz="1600" dirty="0" err="1">
                <a:ea typeface="Times New Roman" panose="02020603050405020304" pitchFamily="18" charset="0"/>
                <a:cs typeface="Aptos" panose="020B0004020202020204" pitchFamily="34" charset="0"/>
              </a:rPr>
              <a:t>guselkumab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1600" dirty="0" err="1">
                <a:ea typeface="Times New Roman" panose="02020603050405020304" pitchFamily="18" charset="0"/>
                <a:cs typeface="Aptos" panose="020B0004020202020204" pitchFamily="34" charset="0"/>
              </a:rPr>
              <a:t>mirikizumab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1600" dirty="0" err="1">
                <a:ea typeface="Times New Roman" panose="02020603050405020304" pitchFamily="18" charset="0"/>
                <a:cs typeface="Aptos" panose="020B0004020202020204" pitchFamily="34" charset="0"/>
              </a:rPr>
              <a:t>risankizumab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) or IL-23R (</a:t>
            </a:r>
            <a:r>
              <a:rPr lang="en-US" sz="1600" dirty="0" err="1">
                <a:ea typeface="Times New Roman" panose="02020603050405020304" pitchFamily="18" charset="0"/>
                <a:cs typeface="Aptos" panose="020B0004020202020204" pitchFamily="34" charset="0"/>
              </a:rPr>
              <a:t>icotrokinra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),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and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/or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integrins (vedolizumab) 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narrows the eligible population (bio‑naïve,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 TNFα antibodies, ustekinumab, JAK inhibitors, SIP receptor modulators and their biosimilars),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potentially limiting country footprint and slowing recruitment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Majority 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of countries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will overlap with ICONIC IBD footprint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;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therefore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, we may want to identify/select countries that do not have </a:t>
            </a:r>
            <a:r>
              <a:rPr lang="en-US" sz="1600" dirty="0" err="1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vedo</a:t>
            </a:r>
            <a:r>
              <a:rPr lang="en-US" sz="1600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approved in country</a:t>
            </a:r>
            <a:r>
              <a:rPr lang="en-US" sz="1600" dirty="0"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  <a:endParaRPr lang="en-US" sz="1600" dirty="0">
              <a:effectLst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b="1" u="sng" dirty="0">
                <a:solidFill>
                  <a:srgbClr val="0070C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Biggest risk remains</a:t>
            </a:r>
            <a:r>
              <a:rPr lang="en-US" sz="1600" b="1" dirty="0">
                <a:solidFill>
                  <a:srgbClr val="0070C0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: no prior performance data in this precise patient population with exclusion of those exposed to vedolizumab.  To mitigate for this risk, the global footprint includes countries without approval or launch of </a:t>
            </a:r>
            <a:r>
              <a:rPr lang="en-US" sz="1600" b="1" dirty="0" err="1">
                <a:solidFill>
                  <a:srgbClr val="0070C0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vedo</a:t>
            </a:r>
            <a:r>
              <a:rPr lang="en-US" sz="1600" b="1" dirty="0">
                <a:solidFill>
                  <a:srgbClr val="0070C0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  <a:endParaRPr lang="en-US" sz="1600" b="1" dirty="0">
              <a:solidFill>
                <a:srgbClr val="0070C0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110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EB969-1799-F23A-6ABA-3F5982A28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168579"/>
            <a:ext cx="9649446" cy="468590"/>
          </a:xfrm>
        </p:spPr>
        <p:txBody>
          <a:bodyPr/>
          <a:lstStyle/>
          <a:p>
            <a:r>
              <a:rPr lang="en-US"/>
              <a:t>Country Selection Criteri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28E85B-A7BE-4318-B660-94BF0E6D7D46}"/>
              </a:ext>
            </a:extLst>
          </p:cNvPr>
          <p:cNvSpPr txBox="1"/>
          <p:nvPr/>
        </p:nvSpPr>
        <p:spPr>
          <a:xfrm>
            <a:off x="288303" y="664720"/>
            <a:ext cx="110479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/>
              <a:t>A balance of c</a:t>
            </a:r>
            <a:r>
              <a: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ntries with rich JNJ IBD experience and those without vedolizumab approval.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E12CDEB-89B7-E22D-57F4-1C7019137EE8}"/>
              </a:ext>
            </a:extLst>
          </p:cNvPr>
          <p:cNvSpPr/>
          <p:nvPr/>
        </p:nvSpPr>
        <p:spPr>
          <a:xfrm>
            <a:off x="288303" y="1549821"/>
            <a:ext cx="6894549" cy="4193997"/>
          </a:xfrm>
          <a:prstGeom prst="roundRect">
            <a:avLst/>
          </a:prstGeom>
          <a:solidFill>
            <a:schemeClr val="tx2">
              <a:lumMod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he list of </a:t>
            </a:r>
            <a:r>
              <a:rPr lang="en-US" sz="1600" b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3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countri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n the following slide includes a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mix of markets where biologics are/aren’t approv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(suggesting ADTs and potential high unmet need); where nearly half do not hav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ved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approved, half have recent JNJ experience and many very rich experience, some where we conduct IBD trials often where they have less ADTs available (where this could be attractive to pts)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t’s expected that a country footprint representing a balance of the following will be most successful in supporting the H2H:</a:t>
            </a:r>
            <a:endParaRPr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Ved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not approved</a:t>
            </a:r>
            <a:endParaRPr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o-IR pt pop high, suggesting high unmet need for sicker p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o-IR pt pop high, ADTs limited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NJ experience in ~50%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o-naïve pt population suggesting lower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do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xposur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2FDECB-5B3D-D783-7A9D-A9C59783B891}"/>
              </a:ext>
            </a:extLst>
          </p:cNvPr>
          <p:cNvSpPr txBox="1"/>
          <p:nvPr/>
        </p:nvSpPr>
        <p:spPr>
          <a:xfrm>
            <a:off x="7580480" y="2851919"/>
            <a:ext cx="3589023" cy="11541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</a:pPr>
            <a:r>
              <a:rPr lang="en-US" sz="1400" b="0" i="0" kern="12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DUET ENCORE’s treatment pathway survey results: </a:t>
            </a:r>
          </a:p>
          <a:p>
            <a:pPr marL="457200" indent="-173736" algn="l" rtl="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b="0" i="0" kern="12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UC - </a:t>
            </a:r>
            <a:r>
              <a:rPr lang="en-US" sz="1400" b="0" i="0" kern="120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vedo</a:t>
            </a:r>
            <a:r>
              <a:rPr lang="en-US" sz="1400" b="0" i="0" kern="12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was cited as the 2nd commonly prescribed 1st line predominantly used in moderate patient ranges (31–45%)</a:t>
            </a:r>
          </a:p>
        </p:txBody>
      </p:sp>
    </p:spTree>
    <p:extLst>
      <p:ext uri="{BB962C8B-B14F-4D97-AF65-F5344CB8AC3E}">
        <p14:creationId xmlns:p14="http://schemas.microsoft.com/office/powerpoint/2010/main" val="39606242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6A5C7-0AD3-C344-A56B-EE154D39C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174735"/>
            <a:ext cx="9649446" cy="514628"/>
          </a:xfrm>
        </p:spPr>
        <p:txBody>
          <a:bodyPr lIns="91440" tIns="45720" rIns="91440" bIns="45720" anchor="b"/>
          <a:lstStyle/>
          <a:p>
            <a:r>
              <a:rPr lang="en-US" sz="3200"/>
              <a:t>Country Outreach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3EC725-DAF3-7EE6-D4ED-E762F18E0F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28D0F49-4A7E-1BE4-355E-3632BC32F7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753724"/>
              </p:ext>
            </p:extLst>
          </p:nvPr>
        </p:nvGraphicFramePr>
        <p:xfrm>
          <a:off x="231980" y="713946"/>
          <a:ext cx="11494123" cy="585522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27224">
                  <a:extLst>
                    <a:ext uri="{9D8B030D-6E8A-4147-A177-3AD203B41FA5}">
                      <a16:colId xmlns:a16="http://schemas.microsoft.com/office/drawing/2014/main" val="2113793172"/>
                    </a:ext>
                  </a:extLst>
                </a:gridCol>
                <a:gridCol w="916794">
                  <a:extLst>
                    <a:ext uri="{9D8B030D-6E8A-4147-A177-3AD203B41FA5}">
                      <a16:colId xmlns:a16="http://schemas.microsoft.com/office/drawing/2014/main" val="2712093307"/>
                    </a:ext>
                  </a:extLst>
                </a:gridCol>
                <a:gridCol w="750106">
                  <a:extLst>
                    <a:ext uri="{9D8B030D-6E8A-4147-A177-3AD203B41FA5}">
                      <a16:colId xmlns:a16="http://schemas.microsoft.com/office/drawing/2014/main" val="3065177547"/>
                    </a:ext>
                  </a:extLst>
                </a:gridCol>
                <a:gridCol w="708434">
                  <a:extLst>
                    <a:ext uri="{9D8B030D-6E8A-4147-A177-3AD203B41FA5}">
                      <a16:colId xmlns:a16="http://schemas.microsoft.com/office/drawing/2014/main" val="1267112550"/>
                    </a:ext>
                  </a:extLst>
                </a:gridCol>
                <a:gridCol w="708434">
                  <a:extLst>
                    <a:ext uri="{9D8B030D-6E8A-4147-A177-3AD203B41FA5}">
                      <a16:colId xmlns:a16="http://schemas.microsoft.com/office/drawing/2014/main" val="2193029060"/>
                    </a:ext>
                  </a:extLst>
                </a:gridCol>
                <a:gridCol w="945674">
                  <a:extLst>
                    <a:ext uri="{9D8B030D-6E8A-4147-A177-3AD203B41FA5}">
                      <a16:colId xmlns:a16="http://schemas.microsoft.com/office/drawing/2014/main" val="2877600545"/>
                    </a:ext>
                  </a:extLst>
                </a:gridCol>
                <a:gridCol w="6537457">
                  <a:extLst>
                    <a:ext uri="{9D8B030D-6E8A-4147-A177-3AD203B41FA5}">
                      <a16:colId xmlns:a16="http://schemas.microsoft.com/office/drawing/2014/main" val="2977652214"/>
                    </a:ext>
                  </a:extLst>
                </a:gridCol>
              </a:tblGrid>
              <a:tr h="4203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untry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umber of biologics launched for UC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1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b="1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launched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CONIC IBD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n-Core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Recent JNJ experience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ment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836325717"/>
                  </a:ext>
                </a:extLst>
              </a:tr>
              <a:tr h="11739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5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61% bio-IR recruiting population suggesting an unmet need in sicker p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2537721433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oat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 </a:t>
                      </a: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bt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higher # of ADTs approved suggesting unmet need in sicker p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839322427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zech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i="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recruits bio-naïve suggesting lower </a:t>
                      </a:r>
                      <a:r>
                        <a:rPr lang="en-US" sz="1000" i="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i="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exposure; exceeded their target in anthem u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556197677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ston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i="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i="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841991198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ungary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 </a:t>
                      </a: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310976323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tv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092989070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thuan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not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884681386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lan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nearly all bio-naïve recruitment which suggests higher pt availability of those not exposed to </a:t>
                      </a: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855540847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omani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i="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high bio-naïve recruitment suggesting lower </a:t>
                      </a:r>
                      <a:r>
                        <a:rPr lang="en-US" sz="1000" i="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i="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exposure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950186509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loven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248756095"/>
                  </a:ext>
                </a:extLst>
              </a:tr>
              <a:tr h="112002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France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28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Top contributor in ICONIC UC</a:t>
                      </a:r>
                    </a:p>
                  </a:txBody>
                  <a:tcPr marL="5965" marR="5965" marT="5965" marB="0" anchor="ctr"/>
                </a:tc>
                <a:extLst>
                  <a:ext uri="{0D108BD9-81ED-4DB2-BD59-A6C34878D82A}">
                    <a16:rowId xmlns:a16="http://schemas.microsoft.com/office/drawing/2014/main" val="400407436"/>
                  </a:ext>
                </a:extLst>
              </a:tr>
              <a:tr h="112002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Bulgaria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24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Recommended based on infrastructure and limited access to </a:t>
                      </a:r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extLst>
                  <a:ext uri="{0D108BD9-81ED-4DB2-BD59-A6C34878D82A}">
                    <a16:rowId xmlns:a16="http://schemas.microsoft.com/office/drawing/2014/main" val="3922844812"/>
                  </a:ext>
                </a:extLst>
              </a:tr>
              <a:tr h="112002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Germany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30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Top contributor in JNJ IBD trials, larger population</a:t>
                      </a:r>
                    </a:p>
                  </a:txBody>
                  <a:tcPr marL="5965" marR="5965" marT="5965" marB="0" anchor="ctr"/>
                </a:tc>
                <a:extLst>
                  <a:ext uri="{0D108BD9-81ED-4DB2-BD59-A6C34878D82A}">
                    <a16:rowId xmlns:a16="http://schemas.microsoft.com/office/drawing/2014/main" val="3665825262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ustralia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en-US" sz="10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lightly higher bio-IR recruitment population; less options available; exceeded their anthem uc targe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4174688054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nada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lightly higher bio-IR recruitment population; less options availabl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254678705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ina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ceeded anthem uc target; higher bio-IR pop and less therapy options</a:t>
                      </a: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3294498271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a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ss biologics approved, large population, top UC contribu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563320330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ss biologics approved; exceeded anthem uc target by 32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929672305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Zealand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*</a:t>
                      </a:r>
                      <a:endParaRPr lang="en-US"/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2766311729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witzerland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235963446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iwan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cruits 67% bio-IR suggesting sicker pts, less options availabl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547339528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razil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gh bio-IR recruitment may mean sicker pts with less options; achieved 200% of their anthem uc pla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782986658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rael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1% bio-IR recruiting population suggesting unmet need; less options availabl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434597050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laysi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ss biologics approved; recruits higher bio-naïve; achieved 325% of their anthem uc pla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61749821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Peru</a:t>
                      </a:r>
                      <a:endParaRPr lang="en-US" sz="1000" b="0" i="1" u="none" strike="noStrike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3990909670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udi Arab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984224656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ingapore</a:t>
                      </a:r>
                      <a:endParaRPr lang="en-US" sz="1000" b="0" i="1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573374721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xico</a:t>
                      </a:r>
                      <a:endParaRPr lang="en-US" sz="1000" b="0" i="1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3579886152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ilippines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3966243471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rbi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255880327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outh Afric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4234496320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ailand</a:t>
                      </a:r>
                      <a:endParaRPr lang="en-US" sz="1000" b="0" i="1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2901818478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Turkey</a:t>
                      </a:r>
                      <a:endParaRPr lang="en-US" sz="1000" b="0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cruits 71% bio-IR suggesting sicker pts, less options ; exceeded their target in anthem u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1713049379"/>
                  </a:ext>
                </a:extLst>
              </a:tr>
              <a:tr h="1120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gentina</a:t>
                      </a:r>
                      <a:endParaRPr lang="en-US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966" marR="5966" marT="5966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x</a:t>
                      </a:r>
                    </a:p>
                  </a:txBody>
                  <a:tcPr marL="5965" marR="5965" marT="596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000" u="none" strike="noStrike" dirty="0" err="1">
                          <a:effectLst/>
                          <a:latin typeface="Calibri"/>
                          <a:ea typeface="Calibri"/>
                          <a:cs typeface="Calibri"/>
                        </a:rPr>
                        <a:t>vedo</a:t>
                      </a:r>
                      <a:r>
                        <a:rPr lang="en-US" sz="1000" u="none" strike="noStrike" dirty="0">
                          <a:effectLst/>
                          <a:latin typeface="Calibri"/>
                          <a:ea typeface="Calibri"/>
                          <a:cs typeface="Calibri"/>
                        </a:rPr>
                        <a:t> not approved; less biologics approved; achieved 216% of their anthem uc pl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5966" marR="5966" marT="5966" marB="0" anchor="ctr"/>
                </a:tc>
                <a:extLst>
                  <a:ext uri="{0D108BD9-81ED-4DB2-BD59-A6C34878D82A}">
                    <a16:rowId xmlns:a16="http://schemas.microsoft.com/office/drawing/2014/main" val="419313891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4A87DD7-E16D-59B5-2497-CA2991CAE085}"/>
              </a:ext>
            </a:extLst>
          </p:cNvPr>
          <p:cNvSpPr txBox="1"/>
          <p:nvPr/>
        </p:nvSpPr>
        <p:spPr>
          <a:xfrm>
            <a:off x="5979042" y="21575"/>
            <a:ext cx="6212958" cy="80021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weet spot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1) countries where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vedo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is not approved </a:t>
            </a:r>
            <a:endParaRPr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) countries where bio-IR recruitment is higher suggesting sicker populations/higher unmet ne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6000"/>
                  </a:scheme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3) countries where bio-IR recruitment is higher AND therapeutic options may be limited for mod-severe pts (ex: no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chemeClr val="accent1">
                    <a:lumMod val="76000"/>
                  </a:scheme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vedo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6000"/>
                  </a:scheme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approval or adoption low)</a:t>
            </a:r>
            <a:endParaRPr lang="en-US" sz="9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6000"/>
                </a:scheme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CA1798-9121-7D47-B036-1E914A253BB3}"/>
              </a:ext>
            </a:extLst>
          </p:cNvPr>
          <p:cNvSpPr txBox="1"/>
          <p:nvPr/>
        </p:nvSpPr>
        <p:spPr>
          <a:xfrm>
            <a:off x="288303" y="6614015"/>
            <a:ext cx="948978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x* cross-border NCC</a:t>
            </a:r>
          </a:p>
        </p:txBody>
      </p:sp>
    </p:spTree>
    <p:extLst>
      <p:ext uri="{BB962C8B-B14F-4D97-AF65-F5344CB8AC3E}">
        <p14:creationId xmlns:p14="http://schemas.microsoft.com/office/powerpoint/2010/main" val="1837880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F235DB6-E020-4E8A-A125-3C7D6B32B28B}"/>
              </a:ext>
            </a:extLst>
          </p:cNvPr>
          <p:cNvSpPr/>
          <p:nvPr/>
        </p:nvSpPr>
        <p:spPr>
          <a:xfrm>
            <a:off x="291748" y="998621"/>
            <a:ext cx="7131736" cy="51735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EA5483-5A42-544D-E11D-703DF2C6D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48" y="386569"/>
            <a:ext cx="11370515" cy="461858"/>
          </a:xfrm>
        </p:spPr>
        <p:txBody>
          <a:bodyPr/>
          <a:lstStyle/>
          <a:p>
            <a:r>
              <a:rPr lang="en-US"/>
              <a:t>Country Considerations requiring GCO Feedbac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33E985-5A75-DCDD-68D8-1EA746B279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BB705E-6D6D-56FC-EB1F-7853A99A55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285" y="1127639"/>
            <a:ext cx="6714378" cy="4731739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latin typeface="Calibri"/>
                <a:ea typeface="Calibri"/>
                <a:cs typeface="Calibri"/>
              </a:rPr>
              <a:t>Vedolizumab consideration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Determine the level of reimbursement/insurance coverage for vedolizumab (Fully / Partially / Not covered).  - need to understand if pts have access to </a:t>
            </a:r>
            <a:r>
              <a:rPr lang="en-US" sz="1400" dirty="0" err="1">
                <a:latin typeface="Calibri"/>
                <a:ea typeface="Calibri"/>
                <a:cs typeface="Calibri"/>
              </a:rPr>
              <a:t>vedo</a:t>
            </a:r>
            <a:r>
              <a:rPr lang="en-US" sz="1400" dirty="0">
                <a:latin typeface="Calibri"/>
                <a:ea typeface="Calibri"/>
                <a:cs typeface="Calibri"/>
              </a:rPr>
              <a:t> and if it’s reimbursed. If </a:t>
            </a:r>
            <a:r>
              <a:rPr lang="en-US" sz="1400" dirty="0" err="1">
                <a:latin typeface="Calibri"/>
                <a:ea typeface="Calibri"/>
                <a:cs typeface="Calibri"/>
              </a:rPr>
              <a:t>vedo</a:t>
            </a:r>
            <a:r>
              <a:rPr lang="en-US" sz="1400" dirty="0">
                <a:latin typeface="Calibri"/>
                <a:ea typeface="Calibri"/>
                <a:cs typeface="Calibri"/>
              </a:rPr>
              <a:t> is launched in country but not well adopted due to coverage barriers, there may be better opportunity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Confirm whether IV dosing followed by SC self‑administration is approved in the country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Central sourcing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For where </a:t>
            </a:r>
            <a:r>
              <a:rPr lang="en-US" sz="1400" dirty="0" err="1">
                <a:latin typeface="Calibri"/>
                <a:ea typeface="Calibri"/>
                <a:cs typeface="Calibri"/>
              </a:rPr>
              <a:t>vedo</a:t>
            </a:r>
            <a:r>
              <a:rPr lang="en-US" sz="1400" dirty="0">
                <a:latin typeface="Calibri"/>
                <a:ea typeface="Calibri"/>
                <a:cs typeface="Calibri"/>
              </a:rPr>
              <a:t> is approved and adopted, what percentage of the population may be eligible?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If vedolizumab is not approved, could this provide a recruitment advantage?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REVAMP (competitor study) is ongoing and has recruited ahead of schedule. Local teams to consider competitive sites and whether there may be benefit in partnering with them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latin typeface="Calibri"/>
              <a:ea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latin typeface="Calibri"/>
                <a:ea typeface="Calibri"/>
                <a:cs typeface="Calibri"/>
              </a:rPr>
              <a:t>Post Trial Access (PTA) requirement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highlight>
                  <a:srgbClr val="FFFF00"/>
                </a:highlight>
                <a:latin typeface="Calibri"/>
                <a:ea typeface="Calibri"/>
                <a:cs typeface="Calibri"/>
              </a:rPr>
              <a:t>Will this be an issue for countries that don’t have </a:t>
            </a:r>
            <a:r>
              <a:rPr lang="en-US" sz="1400" dirty="0" err="1">
                <a:highlight>
                  <a:srgbClr val="FFFF00"/>
                </a:highlight>
                <a:latin typeface="Calibri"/>
                <a:ea typeface="Calibri"/>
                <a:cs typeface="Calibri"/>
              </a:rPr>
              <a:t>vedo</a:t>
            </a:r>
            <a:r>
              <a:rPr lang="en-US" sz="1400" dirty="0">
                <a:highlight>
                  <a:srgbClr val="FFFF00"/>
                </a:highlight>
                <a:latin typeface="Calibri"/>
                <a:ea typeface="Calibri"/>
                <a:cs typeface="Calibri"/>
              </a:rPr>
              <a:t> approved? (JNJ can’t provide post trial access for </a:t>
            </a:r>
            <a:r>
              <a:rPr lang="en-US" sz="1400" dirty="0" err="1">
                <a:highlight>
                  <a:srgbClr val="FFFF00"/>
                </a:highlight>
                <a:latin typeface="Calibri"/>
                <a:ea typeface="Calibri"/>
                <a:cs typeface="Calibri"/>
              </a:rPr>
              <a:t>vedo</a:t>
            </a:r>
            <a:r>
              <a:rPr lang="en-US" sz="1400" dirty="0">
                <a:highlight>
                  <a:srgbClr val="FFFF00"/>
                </a:highlight>
                <a:latin typeface="Calibri"/>
                <a:ea typeface="Calibri"/>
                <a:cs typeface="Calibri"/>
              </a:rPr>
              <a:t>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endParaRPr lang="en-US" sz="1400" dirty="0">
              <a:latin typeface="Calibri"/>
              <a:ea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latin typeface="Calibri"/>
                <a:ea typeface="Calibri"/>
                <a:cs typeface="Calibri"/>
              </a:rPr>
              <a:t>Interest &amp; Engagement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Overall interest in study participation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Principal Investigator (PI) interest level: high / moderate / low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har char="•"/>
            </a:pPr>
            <a:r>
              <a:rPr lang="en-US" sz="1400" dirty="0">
                <a:latin typeface="Calibri"/>
                <a:ea typeface="Calibri"/>
                <a:cs typeface="Calibri"/>
              </a:rPr>
              <a:t>Patient interest level: high / moderate / low (particularly considering access to the comparator drug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latin typeface="Calibri"/>
              <a:ea typeface="Calibri"/>
              <a:cs typeface="Calibri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C6F17E-893E-4BD0-BF4F-AC70A2D24BAE}"/>
              </a:ext>
            </a:extLst>
          </p:cNvPr>
          <p:cNvSpPr txBox="1"/>
          <p:nvPr/>
        </p:nvSpPr>
        <p:spPr>
          <a:xfrm>
            <a:off x="7772400" y="2298088"/>
            <a:ext cx="410753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ea typeface="Calibri"/>
                <a:cs typeface="Calibri"/>
              </a:rPr>
              <a:t>Concerns with country and site overlap across multiple JNJ IBD trials</a:t>
            </a:r>
          </a:p>
          <a:p>
            <a:pPr marL="171450" indent="-1714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ea typeface="Calibri"/>
                <a:cs typeface="Calibri"/>
              </a:rPr>
              <a:t>Country start up timelines</a:t>
            </a:r>
          </a:p>
          <a:p>
            <a:pPr marL="171450" indent="-1714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ea typeface="Calibri"/>
                <a:cs typeface="Calibri"/>
              </a:rPr>
              <a:t>Regulatory experience/operational conduct in countries with less JNJ experience 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08DB861-5A1D-91F3-FF73-CBA3EDF673FA}"/>
              </a:ext>
            </a:extLst>
          </p:cNvPr>
          <p:cNvSpPr/>
          <p:nvPr/>
        </p:nvSpPr>
        <p:spPr>
          <a:xfrm>
            <a:off x="7924800" y="3762555"/>
            <a:ext cx="3637547" cy="228932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4">
                    <a:lumMod val="50000"/>
                  </a:schemeClr>
                </a:solidFill>
              </a:rPr>
              <a:t>PED will not be available to support Country Outreach activities. Please use the information within this presentation</a:t>
            </a:r>
            <a:endParaRPr lang="en-US">
              <a:solidFill>
                <a:schemeClr val="accent4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EF32A5-AB4A-40B3-3D4F-B78C16916D84}"/>
              </a:ext>
            </a:extLst>
          </p:cNvPr>
          <p:cNvSpPr txBox="1"/>
          <p:nvPr/>
        </p:nvSpPr>
        <p:spPr>
          <a:xfrm>
            <a:off x="7772400" y="1968519"/>
            <a:ext cx="43040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ditional considerations:</a:t>
            </a:r>
          </a:p>
        </p:txBody>
      </p:sp>
    </p:spTree>
    <p:extLst>
      <p:ext uri="{BB962C8B-B14F-4D97-AF65-F5344CB8AC3E}">
        <p14:creationId xmlns:p14="http://schemas.microsoft.com/office/powerpoint/2010/main" val="4078493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CB4E4-8E80-49A9-6B6A-64412908C7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CB40234-5CEB-0142-08F0-C9CD3E90EB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690917"/>
              </p:ext>
            </p:extLst>
          </p:nvPr>
        </p:nvGraphicFramePr>
        <p:xfrm>
          <a:off x="285839" y="1026059"/>
          <a:ext cx="11415128" cy="53827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77466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6449B-0120-22F1-23D0-4DA6C0DFC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7850" y="2560299"/>
            <a:ext cx="9649446" cy="723018"/>
          </a:xfrm>
        </p:spPr>
        <p:txBody>
          <a:bodyPr/>
          <a:lstStyle/>
          <a:p>
            <a:pPr algn="ctr"/>
            <a:r>
              <a:rPr lang="en-US" sz="540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3056504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46479-A2D3-E702-A122-851D879A9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584297"/>
            <a:ext cx="8674100" cy="2770117"/>
          </a:xfrm>
        </p:spPr>
        <p:txBody>
          <a:bodyPr/>
          <a:lstStyle/>
          <a:p>
            <a:r>
              <a:rPr lang="en-US"/>
              <a:t>Back u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A409DC-13E6-1A38-F739-F307C2BAA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6D6CB-339D-C614-04E6-1E0E3EC54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6914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48DB37-A154-CD15-9752-42584E74DD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26669" y="3372314"/>
            <a:ext cx="5512611" cy="408782"/>
          </a:xfrm>
        </p:spPr>
        <p:txBody>
          <a:bodyPr/>
          <a:lstStyle/>
          <a:p>
            <a:r>
              <a:rPr lang="en-US"/>
              <a:t>Study Design, Eligibility Criteria, Ideal Site Profile – Yelina Alvarez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325DBBB-F961-6B47-3450-B119AEA8423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26665" y="4809930"/>
            <a:ext cx="5512611" cy="408782"/>
          </a:xfrm>
        </p:spPr>
        <p:txBody>
          <a:bodyPr/>
          <a:lstStyle/>
          <a:p>
            <a:r>
              <a:rPr lang="en-US"/>
              <a:t>Feasibility Timelines – Liz Monti Sullivan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12AC3D5-BE92-3F7F-B6E4-430579FE9E4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99777" y="5731462"/>
            <a:ext cx="5512611" cy="408782"/>
          </a:xfrm>
        </p:spPr>
        <p:txBody>
          <a:bodyPr/>
          <a:lstStyle/>
          <a:p>
            <a:r>
              <a:rPr lang="en-US"/>
              <a:t>Next Steps – Liz Monti Sulliva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1D3F08-248A-F419-8723-FA43FC33B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7162" y="355191"/>
            <a:ext cx="6435226" cy="481991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2808EB-B743-4D3E-4993-32B5418856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6667" y="1270629"/>
            <a:ext cx="5512611" cy="408782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pic>
        <p:nvPicPr>
          <p:cNvPr id="1026" name="Picture 2" descr="JJ_Photo_Colleagues in meeting_JJ_1Star">
            <a:extLst>
              <a:ext uri="{FF2B5EF4-FFF2-40B4-BE49-F238E27FC236}">
                <a16:creationId xmlns:a16="http://schemas.microsoft.com/office/drawing/2014/main" id="{3E9B1E04-74DF-A77B-B3C9-092DC19C6126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4" t="-230" r="35494" b="230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546B10C-92F0-3E71-7BFC-C14FC033D2F1}"/>
              </a:ext>
            </a:extLst>
          </p:cNvPr>
          <p:cNvSpPr txBox="1">
            <a:spLocks/>
          </p:cNvSpPr>
          <p:nvPr/>
        </p:nvSpPr>
        <p:spPr>
          <a:xfrm>
            <a:off x="6226669" y="2122820"/>
            <a:ext cx="5512611" cy="40878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6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−"/>
              <a:tabLst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B1700"/>
              </a:buClr>
              <a:defRPr/>
            </a:pPr>
            <a:r>
              <a:rPr lang="en-US">
                <a:solidFill>
                  <a:srgbClr val="000000"/>
                </a:solidFill>
                <a:latin typeface="Johnson Text"/>
              </a:rPr>
              <a:t>Business Case – Colleen Marano 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2778EE1-52C2-66F2-86D0-62F174710AEA}"/>
              </a:ext>
            </a:extLst>
          </p:cNvPr>
          <p:cNvSpPr txBox="1">
            <a:spLocks/>
          </p:cNvSpPr>
          <p:nvPr/>
        </p:nvSpPr>
        <p:spPr>
          <a:xfrm>
            <a:off x="6226665" y="3969218"/>
            <a:ext cx="5512611" cy="40878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6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−"/>
              <a:tabLst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B1700"/>
              </a:buClr>
              <a:defRPr/>
            </a:pPr>
            <a:r>
              <a:rPr lang="en-US">
                <a:solidFill>
                  <a:srgbClr val="000000"/>
                </a:solidFill>
                <a:latin typeface="Johnson Text"/>
              </a:rPr>
              <a:t>Feasibility Overview – Liz Monti Sullivan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E2290C2-7E92-5CF0-47CF-C72D7FE0982D}"/>
              </a:ext>
            </a:extLst>
          </p:cNvPr>
          <p:cNvSpPr/>
          <p:nvPr/>
        </p:nvSpPr>
        <p:spPr>
          <a:xfrm>
            <a:off x="5277162" y="1270330"/>
            <a:ext cx="798418" cy="77118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C0D9319-0A35-65E8-FBAE-7438F13567F4}"/>
              </a:ext>
            </a:extLst>
          </p:cNvPr>
          <p:cNvSpPr/>
          <p:nvPr/>
        </p:nvSpPr>
        <p:spPr>
          <a:xfrm>
            <a:off x="5297582" y="2119798"/>
            <a:ext cx="798418" cy="7711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81D1846-89C4-298E-7B7B-93F7B18E3FD7}"/>
              </a:ext>
            </a:extLst>
          </p:cNvPr>
          <p:cNvSpPr/>
          <p:nvPr/>
        </p:nvSpPr>
        <p:spPr>
          <a:xfrm>
            <a:off x="5297582" y="2980687"/>
            <a:ext cx="798418" cy="77118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9CC1EF7-DD47-A24F-AC21-6553B0317270}"/>
              </a:ext>
            </a:extLst>
          </p:cNvPr>
          <p:cNvSpPr/>
          <p:nvPr/>
        </p:nvSpPr>
        <p:spPr>
          <a:xfrm>
            <a:off x="5297582" y="3831246"/>
            <a:ext cx="798418" cy="77118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4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9355293-2DFF-4276-E9B1-E58E4C937A38}"/>
              </a:ext>
            </a:extLst>
          </p:cNvPr>
          <p:cNvSpPr/>
          <p:nvPr/>
        </p:nvSpPr>
        <p:spPr>
          <a:xfrm>
            <a:off x="5297582" y="4697644"/>
            <a:ext cx="798418" cy="7711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5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F46B6A4-15CF-95D4-28F4-0599A47E13DC}"/>
              </a:ext>
            </a:extLst>
          </p:cNvPr>
          <p:cNvSpPr/>
          <p:nvPr/>
        </p:nvSpPr>
        <p:spPr>
          <a:xfrm>
            <a:off x="5297582" y="5550263"/>
            <a:ext cx="798418" cy="7711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1612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0F9D2D2-E52C-E82B-B0D5-42497D20480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09640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855CB-253B-C89E-B500-5C126B73B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610974" cy="847027"/>
          </a:xfrm>
        </p:spPr>
        <p:txBody>
          <a:bodyPr/>
          <a:lstStyle/>
          <a:p>
            <a:r>
              <a:rPr lang="en-US" sz="3200"/>
              <a:t>Benchmark insights:</a:t>
            </a:r>
            <a:br>
              <a:rPr lang="en-US" sz="3200"/>
            </a:br>
            <a:r>
              <a:rPr lang="en-US" sz="3200"/>
              <a:t>Phase 2/3 and 3 UC Industry Sponsored Trials, last 5 years, N=16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1AD8DBB-C2F9-D349-93C4-0A95F70C23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9102116"/>
              </p:ext>
            </p:extLst>
          </p:nvPr>
        </p:nvGraphicFramePr>
        <p:xfrm>
          <a:off x="288924" y="1404438"/>
          <a:ext cx="11388726" cy="2730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121">
                  <a:extLst>
                    <a:ext uri="{9D8B030D-6E8A-4147-A177-3AD203B41FA5}">
                      <a16:colId xmlns:a16="http://schemas.microsoft.com/office/drawing/2014/main" val="1356771506"/>
                    </a:ext>
                  </a:extLst>
                </a:gridCol>
                <a:gridCol w="1898121">
                  <a:extLst>
                    <a:ext uri="{9D8B030D-6E8A-4147-A177-3AD203B41FA5}">
                      <a16:colId xmlns:a16="http://schemas.microsoft.com/office/drawing/2014/main" val="3167391657"/>
                    </a:ext>
                  </a:extLst>
                </a:gridCol>
                <a:gridCol w="1898121">
                  <a:extLst>
                    <a:ext uri="{9D8B030D-6E8A-4147-A177-3AD203B41FA5}">
                      <a16:colId xmlns:a16="http://schemas.microsoft.com/office/drawing/2014/main" val="2012735883"/>
                    </a:ext>
                  </a:extLst>
                </a:gridCol>
                <a:gridCol w="1898121">
                  <a:extLst>
                    <a:ext uri="{9D8B030D-6E8A-4147-A177-3AD203B41FA5}">
                      <a16:colId xmlns:a16="http://schemas.microsoft.com/office/drawing/2014/main" val="2311111621"/>
                    </a:ext>
                  </a:extLst>
                </a:gridCol>
                <a:gridCol w="1898121">
                  <a:extLst>
                    <a:ext uri="{9D8B030D-6E8A-4147-A177-3AD203B41FA5}">
                      <a16:colId xmlns:a16="http://schemas.microsoft.com/office/drawing/2014/main" val="4186591265"/>
                    </a:ext>
                  </a:extLst>
                </a:gridCol>
                <a:gridCol w="1898121">
                  <a:extLst>
                    <a:ext uri="{9D8B030D-6E8A-4147-A177-3AD203B41FA5}">
                      <a16:colId xmlns:a16="http://schemas.microsoft.com/office/drawing/2014/main" val="1810847187"/>
                    </a:ext>
                  </a:extLst>
                </a:gridCol>
              </a:tblGrid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ercenti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Si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Count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Pts/Site Capac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Pts/Site/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Enrollment Du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3802423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7.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42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335829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9.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15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7224850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4.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.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47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153081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6.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30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7988642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P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4.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.84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2929807"/>
                  </a:ext>
                </a:extLst>
              </a:tr>
              <a:tr h="390128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Ave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27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308313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96A29DE-3A6D-4296-C88A-9B04156563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973698"/>
              </p:ext>
            </p:extLst>
          </p:nvPr>
        </p:nvGraphicFramePr>
        <p:xfrm>
          <a:off x="2569026" y="4415983"/>
          <a:ext cx="9108624" cy="135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8104">
                  <a:extLst>
                    <a:ext uri="{9D8B030D-6E8A-4147-A177-3AD203B41FA5}">
                      <a16:colId xmlns:a16="http://schemas.microsoft.com/office/drawing/2014/main" val="2758246082"/>
                    </a:ext>
                  </a:extLst>
                </a:gridCol>
                <a:gridCol w="1518104">
                  <a:extLst>
                    <a:ext uri="{9D8B030D-6E8A-4147-A177-3AD203B41FA5}">
                      <a16:colId xmlns:a16="http://schemas.microsoft.com/office/drawing/2014/main" val="1274458946"/>
                    </a:ext>
                  </a:extLst>
                </a:gridCol>
                <a:gridCol w="1518104">
                  <a:extLst>
                    <a:ext uri="{9D8B030D-6E8A-4147-A177-3AD203B41FA5}">
                      <a16:colId xmlns:a16="http://schemas.microsoft.com/office/drawing/2014/main" val="2344784852"/>
                    </a:ext>
                  </a:extLst>
                </a:gridCol>
                <a:gridCol w="1518104">
                  <a:extLst>
                    <a:ext uri="{9D8B030D-6E8A-4147-A177-3AD203B41FA5}">
                      <a16:colId xmlns:a16="http://schemas.microsoft.com/office/drawing/2014/main" val="378325709"/>
                    </a:ext>
                  </a:extLst>
                </a:gridCol>
                <a:gridCol w="1518104">
                  <a:extLst>
                    <a:ext uri="{9D8B030D-6E8A-4147-A177-3AD203B41FA5}">
                      <a16:colId xmlns:a16="http://schemas.microsoft.com/office/drawing/2014/main" val="3538812369"/>
                    </a:ext>
                  </a:extLst>
                </a:gridCol>
                <a:gridCol w="1518104">
                  <a:extLst>
                    <a:ext uri="{9D8B030D-6E8A-4147-A177-3AD203B41FA5}">
                      <a16:colId xmlns:a16="http://schemas.microsoft.com/office/drawing/2014/main" val="1270630685"/>
                    </a:ext>
                  </a:extLst>
                </a:gridCol>
              </a:tblGrid>
              <a:tr h="270360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Internal Tri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Si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Count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Pts/Site Capac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Pts/Site/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Enrollment Du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537385"/>
                  </a:ext>
                </a:extLst>
              </a:tr>
              <a:tr h="270360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Anthem UC (N=2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2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.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8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8550028"/>
                  </a:ext>
                </a:extLst>
              </a:tr>
              <a:tr h="270360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ASTRO (N=418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3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8.3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3140505"/>
                  </a:ext>
                </a:extLst>
              </a:tr>
              <a:tr h="270360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DUET UC (N=5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49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4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20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3578929"/>
                  </a:ext>
                </a:extLst>
              </a:tr>
              <a:tr h="270360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QUASAR (N=100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5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0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35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766044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257A7AD-014E-0C25-5027-D8A499395ABF}"/>
              </a:ext>
            </a:extLst>
          </p:cNvPr>
          <p:cNvSpPr txBox="1"/>
          <p:nvPr/>
        </p:nvSpPr>
        <p:spPr>
          <a:xfrm>
            <a:off x="288303" y="1096122"/>
            <a:ext cx="93008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atient availability informs country and site needs</a:t>
            </a:r>
          </a:p>
        </p:txBody>
      </p:sp>
    </p:spTree>
    <p:extLst>
      <p:ext uri="{BB962C8B-B14F-4D97-AF65-F5344CB8AC3E}">
        <p14:creationId xmlns:p14="http://schemas.microsoft.com/office/powerpoint/2010/main" val="9014020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1A50-D235-BB13-B820-01CCC0499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87" y="207078"/>
            <a:ext cx="9649446" cy="468590"/>
          </a:xfrm>
        </p:spPr>
        <p:txBody>
          <a:bodyPr/>
          <a:lstStyle/>
          <a:p>
            <a:r>
              <a:rPr lang="en-US"/>
              <a:t>IBD External Competitive Landsca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E905E4-E361-116E-B00D-E66F7CDB81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DE1724E-4476-680B-1E41-2366DC8D865F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304886" y="658431"/>
            <a:ext cx="9654768" cy="390620"/>
          </a:xfrm>
        </p:spPr>
        <p:txBody>
          <a:bodyPr/>
          <a:lstStyle/>
          <a:p>
            <a:r>
              <a:rPr lang="en-US">
                <a:solidFill>
                  <a:srgbClr val="0070C0"/>
                </a:solidFill>
              </a:rPr>
              <a:t>Ulcerative Colitis snapsho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79789C-9C42-022D-E092-8CAEFA422E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86" y="2314252"/>
            <a:ext cx="5164422" cy="3723542"/>
          </a:xfr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 anchor="ctr">
            <a:noAutofit/>
          </a:bodyPr>
          <a:lstStyle/>
          <a:p>
            <a:r>
              <a:rPr lang="en-US">
                <a:latin typeface="+mj-lt"/>
              </a:rPr>
              <a:t>Of phase 2/3 and 3 UC trials: </a:t>
            </a:r>
            <a:r>
              <a:rPr lang="en-US" i="1">
                <a:solidFill>
                  <a:srgbClr val="FF0000"/>
                </a:solidFill>
                <a:latin typeface="+mj-lt"/>
              </a:rPr>
              <a:t>need to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+mj-lt"/>
              </a:rPr>
              <a:t>27 open and/or planned global trials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en-US">
                <a:latin typeface="+mj-lt"/>
              </a:rPr>
              <a:t>20 open; 7 planned 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5"/>
                </a:solidFill>
                <a:latin typeface="+mj-lt"/>
              </a:rPr>
              <a:t>~15 trials expected to be active at JNJ2113 FSO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4D868C2-E69D-DBFD-8F01-881FA668A971}"/>
              </a:ext>
            </a:extLst>
          </p:cNvPr>
          <p:cNvGraphicFramePr>
            <a:graphicFrameLocks noGrp="1"/>
          </p:cNvGraphicFramePr>
          <p:nvPr/>
        </p:nvGraphicFramePr>
        <p:xfrm>
          <a:off x="5788705" y="2314252"/>
          <a:ext cx="5428644" cy="372504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0660B408-B3CF-4A94-85FC-2B1E0A45F4A2}</a:tableStyleId>
              </a:tblPr>
              <a:tblGrid>
                <a:gridCol w="1809548">
                  <a:extLst>
                    <a:ext uri="{9D8B030D-6E8A-4147-A177-3AD203B41FA5}">
                      <a16:colId xmlns:a16="http://schemas.microsoft.com/office/drawing/2014/main" val="2712388946"/>
                    </a:ext>
                  </a:extLst>
                </a:gridCol>
                <a:gridCol w="1162975">
                  <a:extLst>
                    <a:ext uri="{9D8B030D-6E8A-4147-A177-3AD203B41FA5}">
                      <a16:colId xmlns:a16="http://schemas.microsoft.com/office/drawing/2014/main" val="1316784264"/>
                    </a:ext>
                  </a:extLst>
                </a:gridCol>
                <a:gridCol w="2456121">
                  <a:extLst>
                    <a:ext uri="{9D8B030D-6E8A-4147-A177-3AD203B41FA5}">
                      <a16:colId xmlns:a16="http://schemas.microsoft.com/office/drawing/2014/main" val="3835265259"/>
                    </a:ext>
                  </a:extLst>
                </a:gridCol>
              </a:tblGrid>
              <a:tr h="268054">
                <a:tc>
                  <a:txBody>
                    <a:bodyPr/>
                    <a:lstStyle/>
                    <a:p>
                      <a:r>
                        <a:rPr lang="en-US" sz="1100"/>
                        <a:t>Key competi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Drug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8619776"/>
                  </a:ext>
                </a:extLst>
              </a:tr>
              <a:tr h="382348">
                <a:tc>
                  <a:txBody>
                    <a:bodyPr/>
                    <a:lstStyle/>
                    <a:p>
                      <a:r>
                        <a:rPr lang="en-US" sz="1000"/>
                        <a:t>Eli Lil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Mirikizumab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IL-23 antagon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86838932"/>
                  </a:ext>
                </a:extLst>
              </a:tr>
              <a:tr h="382348">
                <a:tc>
                  <a:txBody>
                    <a:bodyPr/>
                    <a:lstStyle/>
                    <a:p>
                      <a:r>
                        <a:rPr lang="en-US" sz="1000"/>
                        <a:t>Pfiz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ritlecitinib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JAK inhibi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4888591"/>
                  </a:ext>
                </a:extLst>
              </a:tr>
              <a:tr h="567642">
                <a:tc>
                  <a:txBody>
                    <a:bodyPr/>
                    <a:lstStyle/>
                    <a:p>
                      <a:r>
                        <a:rPr lang="en-US" sz="1000"/>
                        <a:t>B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Ozanimond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Sphingosine 1-phosphate 1 receptor agonist; Sphingosine 1-phosphate 5 receptor agon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3424114"/>
                  </a:ext>
                </a:extLst>
              </a:tr>
              <a:tr h="382348">
                <a:tc>
                  <a:txBody>
                    <a:bodyPr/>
                    <a:lstStyle/>
                    <a:p>
                      <a:r>
                        <a:rPr lang="en-US" sz="1000" err="1"/>
                        <a:t>Abivax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Obefazimod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1000"/>
                        <a:t>HIV rev inhibitor; MicroRNA stimulant</a:t>
                      </a:r>
                      <a:endParaRPr lang="en-US" sz="1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3599054"/>
                  </a:ext>
                </a:extLst>
              </a:tr>
              <a:tr h="382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AbbV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Upadacitini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JAK inhibi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632795"/>
                  </a:ext>
                </a:extLst>
              </a:tr>
              <a:tr h="382348">
                <a:tc>
                  <a:txBody>
                    <a:bodyPr/>
                    <a:lstStyle/>
                    <a:p>
                      <a:r>
                        <a:rPr lang="en-US" sz="1000"/>
                        <a:t>Roch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PF-064806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TNF superfamily member 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9269090"/>
                  </a:ext>
                </a:extLst>
              </a:tr>
              <a:tr h="567642">
                <a:tc>
                  <a:txBody>
                    <a:bodyPr/>
                    <a:lstStyle/>
                    <a:p>
                      <a:r>
                        <a:rPr lang="en-US" sz="1000"/>
                        <a:t>Mer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Tulisokib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Tumour necrosis factor ligand 1A antagonist; Immune checkpoint stimula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0886432"/>
                  </a:ext>
                </a:extLst>
              </a:tr>
              <a:tr h="409964">
                <a:tc>
                  <a:txBody>
                    <a:bodyPr/>
                    <a:lstStyle/>
                    <a:p>
                      <a:r>
                        <a:rPr lang="en-US" sz="1000"/>
                        <a:t>Taked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vedolizuma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Immunosuppressant; Alpha4beta7 integrin antagon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1081539"/>
                  </a:ext>
                </a:extLst>
              </a:tr>
            </a:tbl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4B468C9-39D0-18DB-BDCE-F962074E4AA0}"/>
              </a:ext>
            </a:extLst>
          </p:cNvPr>
          <p:cNvSpPr/>
          <p:nvPr/>
        </p:nvSpPr>
        <p:spPr>
          <a:xfrm>
            <a:off x="304887" y="1224510"/>
            <a:ext cx="11220806" cy="907665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JNJ’s Competitive Edge is Steadfast</a:t>
            </a:r>
          </a:p>
          <a:p>
            <a:pPr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No other program includes</a:t>
            </a:r>
            <a:r>
              <a:rPr lang="en-US" sz="1600">
                <a:solidFill>
                  <a:srgbClr val="000000"/>
                </a:solidFill>
                <a:latin typeface="Johnson Display"/>
              </a:rPr>
              <a:t> a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 IL-23 target oral peptide, making JNJ4804 and JNJ2113 programs uniquely and well positioned.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6E8C05D-C7F2-381E-0C6E-62323401CC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3505" y="5187296"/>
            <a:ext cx="645042" cy="29824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1D57A8E-83DA-F5B9-D8FA-91CAD5F564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8849" y="2632713"/>
            <a:ext cx="642849" cy="33590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8097CE-F4F9-535F-87CF-A485C472B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4180" y="4406114"/>
            <a:ext cx="642849" cy="20089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BD1B5D7-C282-ABBD-9684-83A80F58F9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8849" y="3038513"/>
            <a:ext cx="642849" cy="28150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3F0DC50-D27F-127C-58D2-9252AF7AC9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4180" y="5670789"/>
            <a:ext cx="733515" cy="27823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EA70AEB-D1DC-7809-FB5D-9FA8F66DAE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3514" y="4060114"/>
            <a:ext cx="733515" cy="2200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816DA11-12FF-85FC-1B07-1DB771E66E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2030" y="3466040"/>
            <a:ext cx="816485" cy="29490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6B7A20D-AFEB-36E4-EC6B-231D3C6BE6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84180" y="4704683"/>
            <a:ext cx="642849" cy="34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25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E57BDC-A9DD-2ABF-572E-822DE4575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4874" y="6690187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C9DC505-C155-5C99-44FC-2E953AFC6133}"/>
              </a:ext>
            </a:extLst>
          </p:cNvPr>
          <p:cNvSpPr>
            <a:spLocks noGrp="1"/>
          </p:cNvSpPr>
          <p:nvPr/>
        </p:nvSpPr>
        <p:spPr>
          <a:xfrm>
            <a:off x="127421" y="34981"/>
            <a:ext cx="6713538" cy="4578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None/>
              <a:defRPr sz="3500" b="0" i="0" kern="120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>
                <a:ln>
                  <a:noFill/>
                </a:ln>
                <a:solidFill>
                  <a:srgbClr val="EB1700"/>
                </a:solidFill>
                <a:effectLst/>
                <a:uLnTx/>
                <a:uFillTx/>
                <a:latin typeface="Johnson Display"/>
                <a:ea typeface="+mj-ea"/>
                <a:cs typeface="+mj-cs"/>
              </a:rPr>
              <a:t>UC</a:t>
            </a:r>
            <a:r>
              <a:rPr kumimoji="0" lang="en-US" sz="3500" b="0" i="0" u="none" strike="noStrike" kern="1200" cap="none" spc="0" normalizeH="0" baseline="0" noProof="0">
                <a:ln>
                  <a:noFill/>
                </a:ln>
                <a:solidFill>
                  <a:srgbClr val="EB1700"/>
                </a:solidFill>
                <a:effectLst/>
                <a:uLnTx/>
                <a:uFillTx/>
                <a:latin typeface="Johnson Display"/>
                <a:ea typeface="+mj-ea"/>
                <a:cs typeface="+mj-cs"/>
              </a:rPr>
              <a:t> Competitive Launch Timeline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AD583C4-9008-B515-4C46-B0E2780EFA24}"/>
              </a:ext>
            </a:extLst>
          </p:cNvPr>
          <p:cNvGrpSpPr/>
          <p:nvPr/>
        </p:nvGrpSpPr>
        <p:grpSpPr>
          <a:xfrm>
            <a:off x="180535" y="1550672"/>
            <a:ext cx="764916" cy="657132"/>
            <a:chOff x="67174" y="1930166"/>
            <a:chExt cx="764916" cy="657132"/>
          </a:xfrm>
        </p:grpSpPr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781F8946-3891-952B-BAD5-816DE866C3D1}"/>
                </a:ext>
              </a:extLst>
            </p:cNvPr>
            <p:cNvSpPr/>
            <p:nvPr/>
          </p:nvSpPr>
          <p:spPr bwMode="auto">
            <a:xfrm>
              <a:off x="67174" y="1930166"/>
              <a:ext cx="764916" cy="657132"/>
            </a:xfrm>
            <a:prstGeom prst="roundRect">
              <a:avLst>
                <a:gd name="adj" fmla="val 15058"/>
              </a:avLst>
            </a:prstGeom>
            <a:noFill/>
            <a:ln w="28575" cap="flat" cmpd="sng" algn="ctr">
              <a:solidFill>
                <a:srgbClr val="505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ヒラギノ角ゴ ProN W3" pitchFamily="-110" charset="-128"/>
                  <a:sym typeface="Arial" pitchFamily="-110" charset="0"/>
                </a:rPr>
                <a:t>Orals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endParaRPr>
            </a:p>
          </p:txBody>
        </p:sp>
        <p:pic>
          <p:nvPicPr>
            <p:cNvPr id="100" name="Graphic 99" descr="Medicine">
              <a:extLst>
                <a:ext uri="{FF2B5EF4-FFF2-40B4-BE49-F238E27FC236}">
                  <a16:creationId xmlns:a16="http://schemas.microsoft.com/office/drawing/2014/main" id="{F70F82C8-1B8A-764D-D286-A5298A8041BB}"/>
                </a:ext>
              </a:extLst>
            </p:cNvPr>
            <p:cNvPicPr>
              <a:picLocks noChangeAspect="1"/>
            </p:cNvPicPr>
            <p:nvPr/>
          </p:nvPicPr>
          <p:blipFill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5268" y="2000406"/>
              <a:ext cx="365760" cy="345005"/>
            </a:xfrm>
            <a:prstGeom prst="rect">
              <a:avLst/>
            </a:prstGeom>
          </p:spPr>
        </p:pic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03C6176-0080-F6F6-96ED-AD3BA52D376A}"/>
              </a:ext>
            </a:extLst>
          </p:cNvPr>
          <p:cNvSpPr/>
          <p:nvPr/>
        </p:nvSpPr>
        <p:spPr bwMode="auto">
          <a:xfrm>
            <a:off x="1135866" y="3461316"/>
            <a:ext cx="10875599" cy="2982554"/>
          </a:xfrm>
          <a:prstGeom prst="roundRect">
            <a:avLst>
              <a:gd name="adj" fmla="val 8237"/>
            </a:avLst>
          </a:prstGeom>
          <a:solidFill>
            <a:srgbClr val="F4F4F4">
              <a:lumMod val="9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9098D40-FBE7-C3B4-103E-A8B17E3F582A}"/>
              </a:ext>
            </a:extLst>
          </p:cNvPr>
          <p:cNvSpPr/>
          <p:nvPr/>
        </p:nvSpPr>
        <p:spPr bwMode="auto">
          <a:xfrm>
            <a:off x="1162451" y="719080"/>
            <a:ext cx="10875161" cy="2688112"/>
          </a:xfrm>
          <a:prstGeom prst="roundRect">
            <a:avLst>
              <a:gd name="adj" fmla="val 8568"/>
            </a:avLst>
          </a:prstGeom>
          <a:solidFill>
            <a:srgbClr val="F4F4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C948289-063D-A592-552A-8DD96BC08DC7}"/>
              </a:ext>
            </a:extLst>
          </p:cNvPr>
          <p:cNvSpPr/>
          <p:nvPr/>
        </p:nvSpPr>
        <p:spPr bwMode="auto">
          <a:xfrm>
            <a:off x="2099900" y="742092"/>
            <a:ext cx="3246590" cy="5701778"/>
          </a:xfrm>
          <a:prstGeom prst="roundRect">
            <a:avLst>
              <a:gd name="adj" fmla="val 5733"/>
            </a:avLst>
          </a:prstGeom>
          <a:solidFill>
            <a:srgbClr val="FDEBD7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C35FFCE-3826-2A5B-DA85-799D32730889}"/>
              </a:ext>
            </a:extLst>
          </p:cNvPr>
          <p:cNvGrpSpPr/>
          <p:nvPr/>
        </p:nvGrpSpPr>
        <p:grpSpPr>
          <a:xfrm>
            <a:off x="1162451" y="3264970"/>
            <a:ext cx="10957584" cy="350259"/>
            <a:chOff x="892142" y="3457575"/>
            <a:chExt cx="10755602" cy="350258"/>
          </a:xfrm>
          <a:solidFill>
            <a:schemeClr val="tx2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242D10E-0678-D159-AF40-92E0AAF0EB8A}"/>
                </a:ext>
              </a:extLst>
            </p:cNvPr>
            <p:cNvGrpSpPr/>
            <p:nvPr/>
          </p:nvGrpSpPr>
          <p:grpSpPr>
            <a:xfrm>
              <a:off x="2383656" y="3457575"/>
              <a:ext cx="9264088" cy="350258"/>
              <a:chOff x="546100" y="3278315"/>
              <a:chExt cx="11176000" cy="704851"/>
            </a:xfrm>
            <a:grpFill/>
          </p:grpSpPr>
          <p:sp>
            <p:nvSpPr>
              <p:cNvPr id="20" name="Pentagon 3">
                <a:extLst>
                  <a:ext uri="{FF2B5EF4-FFF2-40B4-BE49-F238E27FC236}">
                    <a16:creationId xmlns:a16="http://schemas.microsoft.com/office/drawing/2014/main" id="{7758741A-E680-7A9D-8112-D6C23715F687}"/>
                  </a:ext>
                </a:extLst>
              </p:cNvPr>
              <p:cNvSpPr/>
              <p:nvPr/>
            </p:nvSpPr>
            <p:spPr>
              <a:xfrm>
                <a:off x="546100" y="3278315"/>
                <a:ext cx="1968500" cy="704851"/>
              </a:xfrm>
              <a:prstGeom prst="homePlate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1" name="Chevron 5">
                <a:extLst>
                  <a:ext uri="{FF2B5EF4-FFF2-40B4-BE49-F238E27FC236}">
                    <a16:creationId xmlns:a16="http://schemas.microsoft.com/office/drawing/2014/main" id="{B240E976-0AD3-C5BE-C4E8-8627875674D7}"/>
                  </a:ext>
                </a:extLst>
              </p:cNvPr>
              <p:cNvSpPr/>
              <p:nvPr/>
            </p:nvSpPr>
            <p:spPr>
              <a:xfrm>
                <a:off x="2387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2" name="Chevron 7">
                <a:extLst>
                  <a:ext uri="{FF2B5EF4-FFF2-40B4-BE49-F238E27FC236}">
                    <a16:creationId xmlns:a16="http://schemas.microsoft.com/office/drawing/2014/main" id="{633B8F59-6E0C-F1AB-8444-5E9FD873CFAA}"/>
                  </a:ext>
                </a:extLst>
              </p:cNvPr>
              <p:cNvSpPr/>
              <p:nvPr/>
            </p:nvSpPr>
            <p:spPr>
              <a:xfrm>
                <a:off x="42291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3" name="Chevron 9">
                <a:extLst>
                  <a:ext uri="{FF2B5EF4-FFF2-40B4-BE49-F238E27FC236}">
                    <a16:creationId xmlns:a16="http://schemas.microsoft.com/office/drawing/2014/main" id="{80345938-6773-F2BF-61B9-169664EAD2A0}"/>
                  </a:ext>
                </a:extLst>
              </p:cNvPr>
              <p:cNvSpPr/>
              <p:nvPr/>
            </p:nvSpPr>
            <p:spPr>
              <a:xfrm>
                <a:off x="6070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4" name="Chevron 11">
                <a:extLst>
                  <a:ext uri="{FF2B5EF4-FFF2-40B4-BE49-F238E27FC236}">
                    <a16:creationId xmlns:a16="http://schemas.microsoft.com/office/drawing/2014/main" id="{0B0B59FA-2B16-7810-CC4F-70AC5211329F}"/>
                  </a:ext>
                </a:extLst>
              </p:cNvPr>
              <p:cNvSpPr/>
              <p:nvPr/>
            </p:nvSpPr>
            <p:spPr>
              <a:xfrm>
                <a:off x="79121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25" name="Chevron 13">
                <a:extLst>
                  <a:ext uri="{FF2B5EF4-FFF2-40B4-BE49-F238E27FC236}">
                    <a16:creationId xmlns:a16="http://schemas.microsoft.com/office/drawing/2014/main" id="{44847281-A881-F1C9-E541-9333E3574758}"/>
                  </a:ext>
                </a:extLst>
              </p:cNvPr>
              <p:cNvSpPr/>
              <p:nvPr/>
            </p:nvSpPr>
            <p:spPr>
              <a:xfrm>
                <a:off x="9753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</p:grpSp>
        <p:sp>
          <p:nvSpPr>
            <p:cNvPr id="19" name="Chevron 5">
              <a:extLst>
                <a:ext uri="{FF2B5EF4-FFF2-40B4-BE49-F238E27FC236}">
                  <a16:creationId xmlns:a16="http://schemas.microsoft.com/office/drawing/2014/main" id="{40F1DE7F-B258-7A04-77CA-EEEB608D3A0D}"/>
                </a:ext>
              </a:extLst>
            </p:cNvPr>
            <p:cNvSpPr/>
            <p:nvPr/>
          </p:nvSpPr>
          <p:spPr>
            <a:xfrm>
              <a:off x="892142" y="3457575"/>
              <a:ext cx="1631743" cy="350258"/>
            </a:xfrm>
            <a:prstGeom prst="chevron">
              <a:avLst>
                <a:gd name="adj" fmla="val 2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194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8D40582-62D1-0D3A-2A14-9DE99FA50998}"/>
              </a:ext>
            </a:extLst>
          </p:cNvPr>
          <p:cNvGrpSpPr/>
          <p:nvPr/>
        </p:nvGrpSpPr>
        <p:grpSpPr>
          <a:xfrm>
            <a:off x="180535" y="4578103"/>
            <a:ext cx="764916" cy="687257"/>
            <a:chOff x="221238" y="4337656"/>
            <a:chExt cx="764916" cy="687257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D58D7BE-F964-4998-C833-F378B4067C23}"/>
                </a:ext>
              </a:extLst>
            </p:cNvPr>
            <p:cNvSpPr/>
            <p:nvPr/>
          </p:nvSpPr>
          <p:spPr bwMode="auto">
            <a:xfrm>
              <a:off x="221238" y="4337656"/>
              <a:ext cx="764916" cy="687257"/>
            </a:xfrm>
            <a:prstGeom prst="roundRect">
              <a:avLst>
                <a:gd name="adj" fmla="val 13449"/>
              </a:avLst>
            </a:prstGeom>
            <a:noFill/>
            <a:ln w="28575" cap="flat" cmpd="sng" algn="ctr">
              <a:solidFill>
                <a:srgbClr val="2121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ヒラギノ角ゴ ProN W3" pitchFamily="-110" charset="-128"/>
                  <a:sym typeface="Arial" pitchFamily="-110" charset="0"/>
                </a:rPr>
                <a:t>SQ/IV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endParaRPr>
            </a:p>
          </p:txBody>
        </p:sp>
        <p:pic>
          <p:nvPicPr>
            <p:cNvPr id="31" name="Graphic 30" descr="Needle">
              <a:extLst>
                <a:ext uri="{FF2B5EF4-FFF2-40B4-BE49-F238E27FC236}">
                  <a16:creationId xmlns:a16="http://schemas.microsoft.com/office/drawing/2014/main" id="{444FC0A6-60E2-0D10-03A9-B07B36DEE459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8080" y="4375373"/>
              <a:ext cx="365760" cy="345006"/>
            </a:xfrm>
            <a:prstGeom prst="rect">
              <a:avLst/>
            </a:prstGeom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2319365A-ED22-D075-1EEE-B64C8CA1F67F}"/>
              </a:ext>
            </a:extLst>
          </p:cNvPr>
          <p:cNvSpPr txBox="1"/>
          <p:nvPr/>
        </p:nvSpPr>
        <p:spPr>
          <a:xfrm>
            <a:off x="6270008" y="3314278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6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80D4657-F0AC-01C7-E316-6C338BDEE101}"/>
              </a:ext>
            </a:extLst>
          </p:cNvPr>
          <p:cNvSpPr txBox="1"/>
          <p:nvPr/>
        </p:nvSpPr>
        <p:spPr>
          <a:xfrm>
            <a:off x="7077648" y="3315189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7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68B849-FB07-F2F6-708B-D15D856A3E89}"/>
              </a:ext>
            </a:extLst>
          </p:cNvPr>
          <p:cNvSpPr txBox="1"/>
          <p:nvPr/>
        </p:nvSpPr>
        <p:spPr>
          <a:xfrm>
            <a:off x="7885293" y="3312453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8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D5CE548-E4CB-AEA7-62B6-881255EFD67B}"/>
              </a:ext>
            </a:extLst>
          </p:cNvPr>
          <p:cNvSpPr txBox="1"/>
          <p:nvPr/>
        </p:nvSpPr>
        <p:spPr>
          <a:xfrm>
            <a:off x="9500579" y="3311538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F39F5F8-9453-983C-AFAA-6A353ACAC3AB}"/>
              </a:ext>
            </a:extLst>
          </p:cNvPr>
          <p:cNvSpPr txBox="1"/>
          <p:nvPr/>
        </p:nvSpPr>
        <p:spPr>
          <a:xfrm>
            <a:off x="10308219" y="3316104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264CF2C-7617-DE29-DEE4-6C63A2CB1697}"/>
              </a:ext>
            </a:extLst>
          </p:cNvPr>
          <p:cNvSpPr txBox="1"/>
          <p:nvPr/>
        </p:nvSpPr>
        <p:spPr>
          <a:xfrm>
            <a:off x="5462364" y="3310625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5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6A11A4-17DF-6298-0E3B-2811310BA023}"/>
              </a:ext>
            </a:extLst>
          </p:cNvPr>
          <p:cNvSpPr txBox="1"/>
          <p:nvPr/>
        </p:nvSpPr>
        <p:spPr>
          <a:xfrm>
            <a:off x="8692939" y="3313365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9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C69B33E-ECDE-280F-3A51-AC08F5BB33F9}"/>
              </a:ext>
            </a:extLst>
          </p:cNvPr>
          <p:cNvSpPr/>
          <p:nvPr/>
        </p:nvSpPr>
        <p:spPr bwMode="auto">
          <a:xfrm>
            <a:off x="2202802" y="3309141"/>
            <a:ext cx="2444255" cy="27699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Marketed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9541274-2BC1-7E36-F87C-EC691DA10B2C}"/>
              </a:ext>
            </a:extLst>
          </p:cNvPr>
          <p:cNvSpPr/>
          <p:nvPr/>
        </p:nvSpPr>
        <p:spPr bwMode="auto">
          <a:xfrm>
            <a:off x="1166157" y="3717349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aTNF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D09D4EA-9202-D368-3599-416DA1CDE0F6}"/>
              </a:ext>
            </a:extLst>
          </p:cNvPr>
          <p:cNvSpPr/>
          <p:nvPr/>
        </p:nvSpPr>
        <p:spPr bwMode="auto">
          <a:xfrm>
            <a:off x="1188157" y="4173535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IL12/23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00C58CB-B24C-AB18-D7D0-494D9097381B}"/>
              </a:ext>
            </a:extLst>
          </p:cNvPr>
          <p:cNvSpPr/>
          <p:nvPr/>
        </p:nvSpPr>
        <p:spPr bwMode="auto">
          <a:xfrm>
            <a:off x="1154880" y="4516021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a4b7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3C508A3-5EAE-8E88-C387-A03700AA723E}"/>
              </a:ext>
            </a:extLst>
          </p:cNvPr>
          <p:cNvSpPr/>
          <p:nvPr/>
        </p:nvSpPr>
        <p:spPr bwMode="auto">
          <a:xfrm>
            <a:off x="1162451" y="4959095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IL23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71B95AE-873C-7995-C1C3-29D60DBE21A4}"/>
              </a:ext>
            </a:extLst>
          </p:cNvPr>
          <p:cNvSpPr/>
          <p:nvPr/>
        </p:nvSpPr>
        <p:spPr>
          <a:xfrm>
            <a:off x="2577852" y="4150580"/>
            <a:ext cx="14258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C75B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ELAR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ABFA9C0-0517-C7EE-97F8-FB9F5E8195E4}"/>
              </a:ext>
            </a:extLst>
          </p:cNvPr>
          <p:cNvSpPr/>
          <p:nvPr/>
        </p:nvSpPr>
        <p:spPr>
          <a:xfrm>
            <a:off x="2417492" y="4940865"/>
            <a:ext cx="187094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mvoh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Skyrizi,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C75B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REMFYA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A53AE45-A9EF-30EA-5031-609FA6DD074A}"/>
              </a:ext>
            </a:extLst>
          </p:cNvPr>
          <p:cNvSpPr/>
          <p:nvPr/>
        </p:nvSpPr>
        <p:spPr>
          <a:xfrm>
            <a:off x="2128902" y="3650422"/>
            <a:ext cx="2511837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C75B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EMICADE,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umira,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C75B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IMPON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IFX &amp; ADA Biosimilar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6F22A5D-1812-CD07-E343-2AB44EC66E55}"/>
              </a:ext>
            </a:extLst>
          </p:cNvPr>
          <p:cNvSpPr/>
          <p:nvPr/>
        </p:nvSpPr>
        <p:spPr>
          <a:xfrm>
            <a:off x="2026410" y="4477223"/>
            <a:ext cx="2653109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tyvio IV &amp; SC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26CB111-5188-BCBB-198E-5B1FC1F4D216}"/>
              </a:ext>
            </a:extLst>
          </p:cNvPr>
          <p:cNvCxnSpPr>
            <a:cxnSpLocks/>
          </p:cNvCxnSpPr>
          <p:nvPr/>
        </p:nvCxnSpPr>
        <p:spPr bwMode="auto">
          <a:xfrm>
            <a:off x="2067258" y="4093219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FFF6D11-C11B-9444-2C26-FC89BDC17B38}"/>
              </a:ext>
            </a:extLst>
          </p:cNvPr>
          <p:cNvCxnSpPr>
            <a:cxnSpLocks/>
          </p:cNvCxnSpPr>
          <p:nvPr/>
        </p:nvCxnSpPr>
        <p:spPr bwMode="auto">
          <a:xfrm>
            <a:off x="2044067" y="4794876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45C76F6-3FCB-BEFB-30E2-4D3D29DB5DC2}"/>
              </a:ext>
            </a:extLst>
          </p:cNvPr>
          <p:cNvCxnSpPr>
            <a:cxnSpLocks/>
          </p:cNvCxnSpPr>
          <p:nvPr/>
        </p:nvCxnSpPr>
        <p:spPr bwMode="auto">
          <a:xfrm>
            <a:off x="2120642" y="1123863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045F20A-D9A6-B519-1D69-29B402738C23}"/>
              </a:ext>
            </a:extLst>
          </p:cNvPr>
          <p:cNvCxnSpPr>
            <a:cxnSpLocks/>
          </p:cNvCxnSpPr>
          <p:nvPr/>
        </p:nvCxnSpPr>
        <p:spPr bwMode="auto">
          <a:xfrm>
            <a:off x="2067258" y="2173901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6DFC116-FC80-7D21-4420-23F76579A8E2}"/>
              </a:ext>
            </a:extLst>
          </p:cNvPr>
          <p:cNvCxnSpPr>
            <a:cxnSpLocks/>
          </p:cNvCxnSpPr>
          <p:nvPr/>
        </p:nvCxnSpPr>
        <p:spPr bwMode="auto">
          <a:xfrm>
            <a:off x="2044067" y="2605260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30B748B4-15C6-CEE1-3E8C-B639A7E90130}"/>
              </a:ext>
            </a:extLst>
          </p:cNvPr>
          <p:cNvSpPr/>
          <p:nvPr/>
        </p:nvSpPr>
        <p:spPr bwMode="auto">
          <a:xfrm>
            <a:off x="1222526" y="826256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JAK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606E763-6D1D-C37C-775B-6E4BBE0B9574}"/>
              </a:ext>
            </a:extLst>
          </p:cNvPr>
          <p:cNvSpPr/>
          <p:nvPr/>
        </p:nvSpPr>
        <p:spPr bwMode="auto">
          <a:xfrm>
            <a:off x="1195728" y="1785699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TYK2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E695543-C6AE-8941-E239-28E75FB00DE6}"/>
              </a:ext>
            </a:extLst>
          </p:cNvPr>
          <p:cNvSpPr/>
          <p:nvPr/>
        </p:nvSpPr>
        <p:spPr bwMode="auto">
          <a:xfrm>
            <a:off x="1192869" y="2271343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IL23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43FF641-CFC3-FF4C-7A43-2FF1E0190052}"/>
              </a:ext>
            </a:extLst>
          </p:cNvPr>
          <p:cNvSpPr/>
          <p:nvPr/>
        </p:nvSpPr>
        <p:spPr bwMode="auto">
          <a:xfrm>
            <a:off x="1182436" y="2779097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Oth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ADC9DAD-4D40-FBE1-208A-A3E8D3342AD7}"/>
              </a:ext>
            </a:extLst>
          </p:cNvPr>
          <p:cNvSpPr/>
          <p:nvPr/>
        </p:nvSpPr>
        <p:spPr>
          <a:xfrm>
            <a:off x="1945747" y="828799"/>
            <a:ext cx="2930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Xeljanz,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invoq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Jyselec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(EU-only)</a:t>
            </a:r>
          </a:p>
        </p:txBody>
      </p:sp>
      <p:sp>
        <p:nvSpPr>
          <p:cNvPr id="69" name="AutoShape 8" descr="Welcome to the SILIQ® website">
            <a:extLst>
              <a:ext uri="{FF2B5EF4-FFF2-40B4-BE49-F238E27FC236}">
                <a16:creationId xmlns:a16="http://schemas.microsoft.com/office/drawing/2014/main" id="{A826F84A-0815-7C15-E742-3A11AEB3CAB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78731" y="3480463"/>
            <a:ext cx="775971" cy="775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83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0" name="AutoShape 10" descr="Welcome to the SILIQ® website">
            <a:extLst>
              <a:ext uri="{FF2B5EF4-FFF2-40B4-BE49-F238E27FC236}">
                <a16:creationId xmlns:a16="http://schemas.microsoft.com/office/drawing/2014/main" id="{D7AE6516-C3F0-3EB0-C8A6-157DF443B16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438502" y="348046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83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668DB0D-AB33-26A2-65FE-4B04F2C33675}"/>
              </a:ext>
            </a:extLst>
          </p:cNvPr>
          <p:cNvSpPr/>
          <p:nvPr/>
        </p:nvSpPr>
        <p:spPr>
          <a:xfrm>
            <a:off x="8385131" y="2243290"/>
            <a:ext cx="1662386" cy="253916"/>
          </a:xfrm>
          <a:prstGeom prst="rect">
            <a:avLst/>
          </a:prstGeom>
          <a:solidFill>
            <a:schemeClr val="bg1"/>
          </a:solidFill>
          <a:ln w="19050">
            <a:solidFill>
              <a:srgbClr val="2A8EBF"/>
            </a:solidFill>
          </a:ln>
        </p:spPr>
        <p:txBody>
          <a:bodyPr wrap="square" lIns="91440" tIns="45720" rIns="91440" bIns="45720" anchor="ctr">
            <a:spAutoFit/>
          </a:bodyPr>
          <a:lstStyle/>
          <a:p>
            <a:pPr marL="0" marR="0" lvl="0" indent="0" algn="l" defTabSz="685494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2A8EBF"/>
                </a:solidFill>
                <a:effectLst/>
                <a:uLnTx/>
                <a:uFillTx/>
                <a:latin typeface="Verdana"/>
                <a:ea typeface="Verdana"/>
                <a:cs typeface="+mn-cs"/>
              </a:rPr>
              <a:t> 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2A8EBF"/>
                </a:solidFill>
                <a:effectLst/>
                <a:uLnTx/>
                <a:uFillTx/>
                <a:latin typeface="Verdana"/>
                <a:ea typeface="Verdana"/>
                <a:cs typeface="+mn-cs"/>
              </a:rPr>
              <a:t>Icotrokinra (Q1’29)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5BB8ADF-836A-FCBF-CF7B-E870266E3176}"/>
              </a:ext>
            </a:extLst>
          </p:cNvPr>
          <p:cNvSpPr/>
          <p:nvPr/>
        </p:nvSpPr>
        <p:spPr>
          <a:xfrm>
            <a:off x="9650512" y="4892892"/>
            <a:ext cx="885636" cy="372468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/>
          <a:p>
            <a:pPr marL="0" marR="0" lvl="0" indent="0" algn="ctr" defTabSz="685483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5EA7E88-871A-4F1F-84A4-2654B6E308A2}"/>
              </a:ext>
            </a:extLst>
          </p:cNvPr>
          <p:cNvSpPr/>
          <p:nvPr/>
        </p:nvSpPr>
        <p:spPr>
          <a:xfrm>
            <a:off x="4565720" y="4725714"/>
            <a:ext cx="1377782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6854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ACFD6A0-1D9D-19CE-49EA-66BAFF06599A}"/>
              </a:ext>
            </a:extLst>
          </p:cNvPr>
          <p:cNvCxnSpPr>
            <a:cxnSpLocks/>
          </p:cNvCxnSpPr>
          <p:nvPr/>
        </p:nvCxnSpPr>
        <p:spPr bwMode="auto">
          <a:xfrm>
            <a:off x="2067258" y="4477223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613A530-A4FC-5BB9-4B93-AD67E208D2C1}"/>
              </a:ext>
            </a:extLst>
          </p:cNvPr>
          <p:cNvCxnSpPr>
            <a:cxnSpLocks/>
          </p:cNvCxnSpPr>
          <p:nvPr/>
        </p:nvCxnSpPr>
        <p:spPr bwMode="auto">
          <a:xfrm>
            <a:off x="2083388" y="1641307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8AFA4F5-ADA3-CC73-0292-79D82D72B58F}"/>
              </a:ext>
            </a:extLst>
          </p:cNvPr>
          <p:cNvSpPr/>
          <p:nvPr/>
        </p:nvSpPr>
        <p:spPr bwMode="auto">
          <a:xfrm>
            <a:off x="1216767" y="1223706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S1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2B49DE-1750-D508-B6C1-5EEB29CB0D9E}"/>
              </a:ext>
            </a:extLst>
          </p:cNvPr>
          <p:cNvSpPr txBox="1"/>
          <p:nvPr/>
        </p:nvSpPr>
        <p:spPr>
          <a:xfrm>
            <a:off x="11104421" y="3324038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2+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82E2A4-D98A-DD9F-AB60-504D764995E0}"/>
              </a:ext>
            </a:extLst>
          </p:cNvPr>
          <p:cNvSpPr/>
          <p:nvPr/>
        </p:nvSpPr>
        <p:spPr>
          <a:xfrm>
            <a:off x="10350651" y="1658136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AK-279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akeda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Q4’31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3359E11-B3E4-F8D2-CBFA-BBC8855654E8}"/>
              </a:ext>
            </a:extLst>
          </p:cNvPr>
          <p:cNvCxnSpPr>
            <a:cxnSpLocks/>
          </p:cNvCxnSpPr>
          <p:nvPr/>
        </p:nvCxnSpPr>
        <p:spPr bwMode="auto">
          <a:xfrm>
            <a:off x="2059757" y="5445918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84D7907A-9B99-FBC8-79D8-F9020B351CC5}"/>
              </a:ext>
            </a:extLst>
          </p:cNvPr>
          <p:cNvSpPr/>
          <p:nvPr/>
        </p:nvSpPr>
        <p:spPr bwMode="auto">
          <a:xfrm>
            <a:off x="1154879" y="5509648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TL1A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F636385-0477-9BEC-D4CE-62FAC60BD9B5}"/>
              </a:ext>
            </a:extLst>
          </p:cNvPr>
          <p:cNvCxnSpPr>
            <a:cxnSpLocks/>
          </p:cNvCxnSpPr>
          <p:nvPr/>
        </p:nvCxnSpPr>
        <p:spPr bwMode="auto">
          <a:xfrm>
            <a:off x="2059757" y="5899872"/>
            <a:ext cx="9966960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93D9860F-14F5-12E8-FFF1-15FE5420027A}"/>
              </a:ext>
            </a:extLst>
          </p:cNvPr>
          <p:cNvSpPr/>
          <p:nvPr/>
        </p:nvSpPr>
        <p:spPr bwMode="auto">
          <a:xfrm>
            <a:off x="1154879" y="6011534"/>
            <a:ext cx="838253" cy="232907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4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Combo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B385B22-709A-9C7E-C8A3-3AE3154854B1}"/>
              </a:ext>
            </a:extLst>
          </p:cNvPr>
          <p:cNvSpPr/>
          <p:nvPr/>
        </p:nvSpPr>
        <p:spPr bwMode="auto">
          <a:xfrm>
            <a:off x="5293376" y="4117361"/>
            <a:ext cx="1425823" cy="283815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Ustekinumab Biosimilar Q1’25 U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EE668AA-7303-3EE6-A97F-C3197B263BD6}"/>
              </a:ext>
            </a:extLst>
          </p:cNvPr>
          <p:cNvSpPr/>
          <p:nvPr/>
        </p:nvSpPr>
        <p:spPr>
          <a:xfrm>
            <a:off x="8388710" y="6044913"/>
            <a:ext cx="1662386" cy="253916"/>
          </a:xfrm>
          <a:prstGeom prst="rect">
            <a:avLst/>
          </a:prstGeom>
          <a:solidFill>
            <a:schemeClr val="bg1"/>
          </a:solidFill>
          <a:ln w="19050">
            <a:solidFill>
              <a:srgbClr val="2A8EBF"/>
            </a:solidFill>
          </a:ln>
        </p:spPr>
        <p:txBody>
          <a:bodyPr wrap="square" lIns="91440" tIns="45720" rIns="91440" bIns="45720" anchor="ctr">
            <a:spAutoFit/>
          </a:bodyPr>
          <a:lstStyle/>
          <a:p>
            <a:pPr marL="0" marR="0" lvl="0" indent="0" algn="l" defTabSz="685494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2A8EBF"/>
                </a:solidFill>
                <a:effectLst/>
                <a:uLnTx/>
                <a:uFillTx/>
                <a:latin typeface="Verdana"/>
                <a:ea typeface="Verdana"/>
                <a:cs typeface="+mn-cs"/>
              </a:rPr>
              <a:t> JNJ-4804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2A8EBF"/>
                </a:solidFill>
                <a:effectLst/>
                <a:uLnTx/>
                <a:uFillTx/>
                <a:latin typeface="Verdana"/>
                <a:ea typeface="Verdana"/>
                <a:cs typeface="+mn-cs"/>
              </a:rPr>
              <a:t>(Q2’29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9FCD07E-E1B6-A2CF-97FA-EFE89EDFC399}"/>
              </a:ext>
            </a:extLst>
          </p:cNvPr>
          <p:cNvSpPr/>
          <p:nvPr/>
        </p:nvSpPr>
        <p:spPr>
          <a:xfrm>
            <a:off x="8441548" y="1113081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TX-00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entyx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1H’29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C8B6A05-D78B-0132-1B80-D4D7A0327DA0}"/>
              </a:ext>
            </a:extLst>
          </p:cNvPr>
          <p:cNvSpPr/>
          <p:nvPr/>
        </p:nvSpPr>
        <p:spPr>
          <a:xfrm>
            <a:off x="8334797" y="5418831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G6631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oche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Q4’28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CC3D5AF-53EB-9448-227A-851A2FF6DA2B}"/>
              </a:ext>
            </a:extLst>
          </p:cNvPr>
          <p:cNvSpPr/>
          <p:nvPr/>
        </p:nvSpPr>
        <p:spPr>
          <a:xfrm>
            <a:off x="7624263" y="5418832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K7240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erck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Q2’28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DC421F2-C0F6-B8BC-FE20-BF4E0FF1572F}"/>
              </a:ext>
            </a:extLst>
          </p:cNvPr>
          <p:cNvSpPr/>
          <p:nvPr/>
        </p:nvSpPr>
        <p:spPr>
          <a:xfrm>
            <a:off x="7050738" y="2664989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befazimod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bivax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3 (Q3’27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9FF54E1-D173-832C-6FBA-A2CE4769A664}"/>
              </a:ext>
            </a:extLst>
          </p:cNvPr>
          <p:cNvSpPr/>
          <p:nvPr/>
        </p:nvSpPr>
        <p:spPr bwMode="auto">
          <a:xfrm>
            <a:off x="7782155" y="4883480"/>
            <a:ext cx="1159121" cy="253916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Skyrizi SC Induction: </a:t>
            </a:r>
          </a:p>
          <a:p>
            <a:pPr marL="0" marR="0" lvl="0" indent="0" algn="ctr" defTabSz="6854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TBD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CE3384EA-7173-1800-A004-2354B25A2AD0}"/>
              </a:ext>
            </a:extLst>
          </p:cNvPr>
          <p:cNvGrpSpPr/>
          <p:nvPr/>
        </p:nvGrpSpPr>
        <p:grpSpPr>
          <a:xfrm>
            <a:off x="1189031" y="438512"/>
            <a:ext cx="10957584" cy="350259"/>
            <a:chOff x="892142" y="3457575"/>
            <a:chExt cx="10755602" cy="350258"/>
          </a:xfrm>
          <a:solidFill>
            <a:schemeClr val="tx2"/>
          </a:solidFill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C08591A7-BA75-20AA-59C7-D9B640711BC8}"/>
                </a:ext>
              </a:extLst>
            </p:cNvPr>
            <p:cNvGrpSpPr/>
            <p:nvPr/>
          </p:nvGrpSpPr>
          <p:grpSpPr>
            <a:xfrm>
              <a:off x="2383656" y="3457575"/>
              <a:ext cx="9264088" cy="350258"/>
              <a:chOff x="546100" y="3278315"/>
              <a:chExt cx="11176000" cy="704851"/>
            </a:xfrm>
            <a:grpFill/>
          </p:grpSpPr>
          <p:sp>
            <p:nvSpPr>
              <p:cNvPr id="104" name="Pentagon 3">
                <a:extLst>
                  <a:ext uri="{FF2B5EF4-FFF2-40B4-BE49-F238E27FC236}">
                    <a16:creationId xmlns:a16="http://schemas.microsoft.com/office/drawing/2014/main" id="{188C9B93-C4F3-60BB-2162-5A4E98A633B8}"/>
                  </a:ext>
                </a:extLst>
              </p:cNvPr>
              <p:cNvSpPr/>
              <p:nvPr/>
            </p:nvSpPr>
            <p:spPr>
              <a:xfrm>
                <a:off x="546100" y="3278315"/>
                <a:ext cx="1968500" cy="704851"/>
              </a:xfrm>
              <a:prstGeom prst="homePlate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5" name="Chevron 5">
                <a:extLst>
                  <a:ext uri="{FF2B5EF4-FFF2-40B4-BE49-F238E27FC236}">
                    <a16:creationId xmlns:a16="http://schemas.microsoft.com/office/drawing/2014/main" id="{335EB18E-0CB2-F200-CED7-A5DFC632D209}"/>
                  </a:ext>
                </a:extLst>
              </p:cNvPr>
              <p:cNvSpPr/>
              <p:nvPr/>
            </p:nvSpPr>
            <p:spPr>
              <a:xfrm>
                <a:off x="2387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6" name="Chevron 7">
                <a:extLst>
                  <a:ext uri="{FF2B5EF4-FFF2-40B4-BE49-F238E27FC236}">
                    <a16:creationId xmlns:a16="http://schemas.microsoft.com/office/drawing/2014/main" id="{4C4A8D18-3138-47E5-0BDC-00D021174756}"/>
                  </a:ext>
                </a:extLst>
              </p:cNvPr>
              <p:cNvSpPr/>
              <p:nvPr/>
            </p:nvSpPr>
            <p:spPr>
              <a:xfrm>
                <a:off x="42291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7" name="Chevron 9">
                <a:extLst>
                  <a:ext uri="{FF2B5EF4-FFF2-40B4-BE49-F238E27FC236}">
                    <a16:creationId xmlns:a16="http://schemas.microsoft.com/office/drawing/2014/main" id="{1F450509-A7EE-863A-62D2-07580C6A6859}"/>
                  </a:ext>
                </a:extLst>
              </p:cNvPr>
              <p:cNvSpPr/>
              <p:nvPr/>
            </p:nvSpPr>
            <p:spPr>
              <a:xfrm>
                <a:off x="6070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8" name="Chevron 11">
                <a:extLst>
                  <a:ext uri="{FF2B5EF4-FFF2-40B4-BE49-F238E27FC236}">
                    <a16:creationId xmlns:a16="http://schemas.microsoft.com/office/drawing/2014/main" id="{63F88C32-D3F3-7807-BA18-8CF9CEF9148D}"/>
                  </a:ext>
                </a:extLst>
              </p:cNvPr>
              <p:cNvSpPr/>
              <p:nvPr/>
            </p:nvSpPr>
            <p:spPr>
              <a:xfrm>
                <a:off x="79121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109" name="Chevron 13">
                <a:extLst>
                  <a:ext uri="{FF2B5EF4-FFF2-40B4-BE49-F238E27FC236}">
                    <a16:creationId xmlns:a16="http://schemas.microsoft.com/office/drawing/2014/main" id="{CB2F0369-CB8D-5475-EF89-7B5EC3D36D6C}"/>
                  </a:ext>
                </a:extLst>
              </p:cNvPr>
              <p:cNvSpPr/>
              <p:nvPr/>
            </p:nvSpPr>
            <p:spPr>
              <a:xfrm>
                <a:off x="9753600" y="3278315"/>
                <a:ext cx="1968500" cy="704851"/>
              </a:xfrm>
              <a:prstGeom prst="chevron">
                <a:avLst>
                  <a:gd name="adj" fmla="val 2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  <a:sp3d/>
              </a:bodyPr>
              <a:lstStyle/>
              <a:p>
                <a:pPr marL="0" marR="0" lvl="0" indent="0" algn="ctr" defTabSz="914194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endParaRPr>
              </a:p>
            </p:txBody>
          </p:sp>
        </p:grpSp>
        <p:sp>
          <p:nvSpPr>
            <p:cNvPr id="103" name="Chevron 5">
              <a:extLst>
                <a:ext uri="{FF2B5EF4-FFF2-40B4-BE49-F238E27FC236}">
                  <a16:creationId xmlns:a16="http://schemas.microsoft.com/office/drawing/2014/main" id="{B02D2A1E-D25B-FB1C-B683-695C4B3DEC1F}"/>
                </a:ext>
              </a:extLst>
            </p:cNvPr>
            <p:cNvSpPr/>
            <p:nvPr/>
          </p:nvSpPr>
          <p:spPr>
            <a:xfrm>
              <a:off x="892142" y="3457575"/>
              <a:ext cx="1631743" cy="350258"/>
            </a:xfrm>
            <a:prstGeom prst="chevron">
              <a:avLst>
                <a:gd name="adj" fmla="val 2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194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1A658188-7A01-FF5C-0A54-BD76684EC24C}"/>
              </a:ext>
            </a:extLst>
          </p:cNvPr>
          <p:cNvSpPr txBox="1"/>
          <p:nvPr/>
        </p:nvSpPr>
        <p:spPr>
          <a:xfrm>
            <a:off x="6256023" y="478996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6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A63FA16-5E51-7D6B-6435-B1F68BB59E26}"/>
              </a:ext>
            </a:extLst>
          </p:cNvPr>
          <p:cNvSpPr txBox="1"/>
          <p:nvPr/>
        </p:nvSpPr>
        <p:spPr>
          <a:xfrm>
            <a:off x="7063663" y="479907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7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7CBF8A0-FE10-E04D-8414-C864B2A89BCA}"/>
              </a:ext>
            </a:extLst>
          </p:cNvPr>
          <p:cNvSpPr txBox="1"/>
          <p:nvPr/>
        </p:nvSpPr>
        <p:spPr>
          <a:xfrm>
            <a:off x="7871308" y="477171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8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8B074DA-5573-547F-074D-838C4723E093}"/>
              </a:ext>
            </a:extLst>
          </p:cNvPr>
          <p:cNvSpPr txBox="1"/>
          <p:nvPr/>
        </p:nvSpPr>
        <p:spPr>
          <a:xfrm>
            <a:off x="9486594" y="476256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0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B99B2DE-6DFF-0235-7CDA-388236F1E8FA}"/>
              </a:ext>
            </a:extLst>
          </p:cNvPr>
          <p:cNvSpPr txBox="1"/>
          <p:nvPr/>
        </p:nvSpPr>
        <p:spPr>
          <a:xfrm>
            <a:off x="10294234" y="480822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1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6DD8CCE-C882-2644-C176-E16E556E028F}"/>
              </a:ext>
            </a:extLst>
          </p:cNvPr>
          <p:cNvSpPr txBox="1"/>
          <p:nvPr/>
        </p:nvSpPr>
        <p:spPr>
          <a:xfrm>
            <a:off x="5448379" y="475343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5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ED314F1-9EAC-797B-308C-5C770879FDA2}"/>
              </a:ext>
            </a:extLst>
          </p:cNvPr>
          <p:cNvSpPr txBox="1"/>
          <p:nvPr/>
        </p:nvSpPr>
        <p:spPr>
          <a:xfrm>
            <a:off x="8678954" y="478083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9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3D7DC0A-C63A-BEB7-EBB2-D929522B1D4A}"/>
              </a:ext>
            </a:extLst>
          </p:cNvPr>
          <p:cNvSpPr/>
          <p:nvPr/>
        </p:nvSpPr>
        <p:spPr bwMode="auto">
          <a:xfrm>
            <a:off x="2188817" y="473859"/>
            <a:ext cx="2444255" cy="27699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ヒラギノ角ゴ ProN W3" pitchFamily="-110" charset="-128"/>
                <a:sym typeface="Arial" pitchFamily="-110" charset="0"/>
              </a:rPr>
              <a:t>Marketed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233C1845-86A7-57E8-C454-7C6345C767E3}"/>
              </a:ext>
            </a:extLst>
          </p:cNvPr>
          <p:cNvSpPr txBox="1"/>
          <p:nvPr/>
        </p:nvSpPr>
        <p:spPr>
          <a:xfrm>
            <a:off x="11090436" y="488756"/>
            <a:ext cx="86405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19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32+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00E1FA-4080-2DC2-F686-29336297560A}"/>
              </a:ext>
            </a:extLst>
          </p:cNvPr>
          <p:cNvSpPr/>
          <p:nvPr/>
        </p:nvSpPr>
        <p:spPr>
          <a:xfrm>
            <a:off x="2570308" y="1198599"/>
            <a:ext cx="156531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466" rtl="0" eaLnBrk="1" fontAlgn="ctr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Zeposi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elsipty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6C776B-3735-D691-F082-9517D60DF74C}"/>
              </a:ext>
            </a:extLst>
          </p:cNvPr>
          <p:cNvSpPr/>
          <p:nvPr/>
        </p:nvSpPr>
        <p:spPr>
          <a:xfrm>
            <a:off x="9031431" y="5410400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V48574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va: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Q4’29)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0CDA3B-3058-6924-3A30-A74919D9CA48}"/>
              </a:ext>
            </a:extLst>
          </p:cNvPr>
          <p:cNvSpPr/>
          <p:nvPr/>
        </p:nvSpPr>
        <p:spPr>
          <a:xfrm>
            <a:off x="8325423" y="753444"/>
            <a:ext cx="1408284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itlecitinib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fizer: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Q4’28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2DDD66-907E-0828-6175-FFE2D923C3EF}"/>
              </a:ext>
            </a:extLst>
          </p:cNvPr>
          <p:cNvSpPr/>
          <p:nvPr/>
        </p:nvSpPr>
        <p:spPr>
          <a:xfrm>
            <a:off x="9235850" y="2711838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RF057 a4B7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lly: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2 (Q1’30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8B5A93-42F1-06D7-48DD-047EB26E7F19}"/>
              </a:ext>
            </a:extLst>
          </p:cNvPr>
          <p:cNvSpPr/>
          <p:nvPr/>
        </p:nvSpPr>
        <p:spPr>
          <a:xfrm>
            <a:off x="10304404" y="2713184"/>
            <a:ext cx="1101463" cy="5078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 RIPK1’s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bbvi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: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Q3’31</a:t>
            </a:r>
          </a:p>
          <a:p>
            <a:pPr marL="0" marR="0" lvl="0" indent="0" algn="ctr" defTabSz="685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anofi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: Q1’31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03CBCBA-0D01-1B48-D2A0-F869C6CC0A2C}"/>
              </a:ext>
            </a:extLst>
          </p:cNvPr>
          <p:cNvSpPr txBox="1"/>
          <p:nvPr/>
        </p:nvSpPr>
        <p:spPr>
          <a:xfrm>
            <a:off x="2074500" y="6522023"/>
            <a:ext cx="80784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As of January 2025 </a:t>
            </a:r>
          </a:p>
        </p:txBody>
      </p:sp>
    </p:spTree>
    <p:extLst>
      <p:ext uri="{BB962C8B-B14F-4D97-AF65-F5344CB8AC3E}">
        <p14:creationId xmlns:p14="http://schemas.microsoft.com/office/powerpoint/2010/main" val="4252508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E770420B-7B33-3DB1-86F0-9CC5DF44F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355191"/>
            <a:ext cx="9649446" cy="481991"/>
          </a:xfrm>
        </p:spPr>
        <p:txBody>
          <a:bodyPr/>
          <a:lstStyle/>
          <a:p>
            <a:r>
              <a:rPr lang="en-US" sz="3600">
                <a:latin typeface="Johnson Display Light" panose="00000400000000000000" pitchFamily="2" charset="0"/>
              </a:rPr>
              <a:t>ICONIC Phase 3 UC H2H: Central Team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FFCE8D-770F-BE6C-CAAC-0C6BF47B54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0B36781-1A4D-675C-CF20-432EE6201F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834" y="1217576"/>
            <a:ext cx="4346809" cy="460272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olleen Marano, Clinical Program Lead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Yelina Alvarez, SRP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Nicole Houck, SR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D535264C-513F-724B-8B51-34C11691EC37}"/>
              </a:ext>
            </a:extLst>
          </p:cNvPr>
          <p:cNvSpPr txBox="1">
            <a:spLocks/>
          </p:cNvSpPr>
          <p:nvPr/>
        </p:nvSpPr>
        <p:spPr>
          <a:xfrm>
            <a:off x="480834" y="2436545"/>
            <a:ext cx="3595995" cy="4602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6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Jeanine Ranaudo, PDL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Li Jen Heng, TDL 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Ann Campbell, TDM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/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Liz Sullivan, Feasibility Lead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Jenifer Eche, Feasibility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521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B5E54-8A52-10C6-F0AE-38EAA2CBD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lcome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50CA17-F8E7-1F86-FE49-EBDDEEB271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784DBEE-FEAE-0CED-643F-0719B4D631D1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288302" y="819945"/>
            <a:ext cx="9654768" cy="390428"/>
          </a:xfrm>
        </p:spPr>
        <p:txBody>
          <a:bodyPr/>
          <a:lstStyle/>
          <a:p>
            <a:r>
              <a:rPr lang="en-US" altLang="en-US">
                <a:solidFill>
                  <a:srgbClr val="000000"/>
                </a:solidFill>
                <a:latin typeface="Aptos" panose="020B0004020202020204" pitchFamily="34" charset="0"/>
              </a:rPr>
              <a:t>Scoped Countries:</a:t>
            </a:r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6FFFBFF-CA79-8405-0618-2FF81310D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766354"/>
              </p:ext>
            </p:extLst>
          </p:nvPr>
        </p:nvGraphicFramePr>
        <p:xfrm>
          <a:off x="1400242" y="1469419"/>
          <a:ext cx="3981295" cy="4716956"/>
        </p:xfrm>
        <a:graphic>
          <a:graphicData uri="http://schemas.openxmlformats.org/drawingml/2006/table">
            <a:tbl>
              <a:tblPr/>
              <a:tblGrid>
                <a:gridCol w="1321659">
                  <a:extLst>
                    <a:ext uri="{9D8B030D-6E8A-4147-A177-3AD203B41FA5}">
                      <a16:colId xmlns:a16="http://schemas.microsoft.com/office/drawing/2014/main" val="3797904753"/>
                    </a:ext>
                  </a:extLst>
                </a:gridCol>
                <a:gridCol w="2659636">
                  <a:extLst>
                    <a:ext uri="{9D8B030D-6E8A-4147-A177-3AD203B41FA5}">
                      <a16:colId xmlns:a16="http://schemas.microsoft.com/office/drawing/2014/main" val="2584553706"/>
                    </a:ext>
                  </a:extLst>
                </a:gridCol>
              </a:tblGrid>
              <a:tr h="9129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ericas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gentin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4295452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zil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774153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ad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437604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xico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371596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u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157745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7582934"/>
                  </a:ext>
                </a:extLst>
              </a:tr>
              <a:tr h="9129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en-US" sz="1800" b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7963854"/>
                  </a:ext>
                </a:extLst>
              </a:tr>
              <a:tr h="9129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AC</a:t>
                      </a: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stral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0088961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in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8789206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115319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636720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lays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463435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w Zealand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206144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ilippines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733834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ngapore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728212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iwan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066744"/>
                  </a:ext>
                </a:extLst>
              </a:tr>
              <a:tr h="139143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ailand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394973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6DC8DA6-11A5-2751-A45F-8217E80BE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921279"/>
              </p:ext>
            </p:extLst>
          </p:nvPr>
        </p:nvGraphicFramePr>
        <p:xfrm>
          <a:off x="6186385" y="1469419"/>
          <a:ext cx="3981295" cy="4994424"/>
        </p:xfrm>
        <a:graphic>
          <a:graphicData uri="http://schemas.openxmlformats.org/drawingml/2006/table">
            <a:tbl>
              <a:tblPr/>
              <a:tblGrid>
                <a:gridCol w="1321659">
                  <a:extLst>
                    <a:ext uri="{9D8B030D-6E8A-4147-A177-3AD203B41FA5}">
                      <a16:colId xmlns:a16="http://schemas.microsoft.com/office/drawing/2014/main" val="953329473"/>
                    </a:ext>
                  </a:extLst>
                </a:gridCol>
                <a:gridCol w="2659636">
                  <a:extLst>
                    <a:ext uri="{9D8B030D-6E8A-4147-A177-3AD203B41FA5}">
                      <a16:colId xmlns:a16="http://schemas.microsoft.com/office/drawing/2014/main" val="1764624698"/>
                    </a:ext>
                  </a:extLst>
                </a:gridCol>
              </a:tblGrid>
              <a:tr h="1152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EA</a:t>
                      </a: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lgaria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0273761"/>
                  </a:ext>
                </a:extLst>
              </a:tr>
              <a:tr h="115288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oat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0375049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zech​ Republic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1265788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ton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9145007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00230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446812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ngary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76085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srael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61065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tv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787813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thuan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576676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land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216917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man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392608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udi Arab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7268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b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6341195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loveni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1403119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uth Africa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7900548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565942"/>
                  </a:ext>
                </a:extLst>
              </a:tr>
              <a:tr h="18959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endParaRPr lang="en-US" sz="1800" b="1">
                        <a:effectLst/>
                        <a:latin typeface="+mn-lt"/>
                      </a:endParaRPr>
                    </a:p>
                  </a:txBody>
                  <a:tcPr marL="3148" marR="3148" marT="31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8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urkey​</a:t>
                      </a:r>
                    </a:p>
                  </a:txBody>
                  <a:tcPr marL="3148" marR="3148" marT="31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431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7122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07815C-2587-0435-C4FA-D2098D0CF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D11531FB-A759-1722-6889-4D0121747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368592"/>
            <a:ext cx="9649446" cy="468590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5BF73F-4E01-2E80-777C-34C0CEEF1070}"/>
              </a:ext>
            </a:extLst>
          </p:cNvPr>
          <p:cNvSpPr txBox="1"/>
          <p:nvPr/>
        </p:nvSpPr>
        <p:spPr>
          <a:xfrm>
            <a:off x="288303" y="1316052"/>
            <a:ext cx="10325575" cy="13849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The ICONIC UC Head‑to‑Head study is a Phase 3b direct comparison trial designed to support access and positioning of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icotrokinr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 in ulcerative colitis, particularly across key EU and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RoW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Display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Display"/>
                <a:ea typeface="+mn-ea"/>
                <a:cs typeface="+mn-cs"/>
              </a:rPr>
              <a:t>Today we are here to provide key study and enrollment assumptions to support Country Outreach for the ICONIC UC Head‑to‑Head study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Johnson Display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7B7B718D-7E91-0B4E-26DA-BCCE1987AD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2506021"/>
              </p:ext>
            </p:extLst>
          </p:nvPr>
        </p:nvGraphicFramePr>
        <p:xfrm>
          <a:off x="1574295" y="3012969"/>
          <a:ext cx="9043410" cy="25289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4C6FA41B-C118-51ED-31B7-84713D724C0F}"/>
              </a:ext>
            </a:extLst>
          </p:cNvPr>
          <p:cNvSpPr/>
          <p:nvPr/>
        </p:nvSpPr>
        <p:spPr>
          <a:xfrm>
            <a:off x="1816768" y="3116179"/>
            <a:ext cx="2201779" cy="1720516"/>
          </a:xfrm>
          <a:prstGeom prst="ellipse">
            <a:avLst/>
          </a:prstGeom>
          <a:noFill/>
          <a:ln w="19050"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1363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: Rounded Corners 13">
            <a:extLst>
              <a:ext uri="{FF2B5EF4-FFF2-40B4-BE49-F238E27FC236}">
                <a16:creationId xmlns:a16="http://schemas.microsoft.com/office/drawing/2014/main" id="{F292E5B4-1701-3B92-4DE2-56D6A20F6913}"/>
              </a:ext>
            </a:extLst>
          </p:cNvPr>
          <p:cNvSpPr/>
          <p:nvPr/>
        </p:nvSpPr>
        <p:spPr bwMode="auto">
          <a:xfrm>
            <a:off x="7359649" y="1910085"/>
            <a:ext cx="4358210" cy="427698"/>
          </a:xfrm>
          <a:prstGeom prst="roundRect">
            <a:avLst>
              <a:gd name="adj" fmla="val 24765"/>
            </a:avLst>
          </a:prstGeom>
          <a:noFill/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57150" tIns="57150" rIns="57150" bIns="5715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5555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LTE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E4AC7134-2D29-E81D-C04B-05C463C96D7B}"/>
              </a:ext>
            </a:extLst>
          </p:cNvPr>
          <p:cNvSpPr/>
          <p:nvPr/>
        </p:nvSpPr>
        <p:spPr>
          <a:xfrm>
            <a:off x="6160231" y="3249946"/>
            <a:ext cx="5742383" cy="3001489"/>
          </a:xfrm>
          <a:prstGeom prst="roundRect">
            <a:avLst>
              <a:gd name="adj" fmla="val 8709"/>
            </a:avLst>
          </a:prstGeom>
          <a:solidFill>
            <a:schemeClr val="bg1"/>
          </a:solidFill>
          <a:ln w="57150">
            <a:solidFill>
              <a:srgbClr val="FF9C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CC347AAA-A7B4-C5F9-25B3-06FB1042E4C6}"/>
              </a:ext>
            </a:extLst>
          </p:cNvPr>
          <p:cNvSpPr/>
          <p:nvPr/>
        </p:nvSpPr>
        <p:spPr>
          <a:xfrm>
            <a:off x="255432" y="3249946"/>
            <a:ext cx="5653533" cy="2942475"/>
          </a:xfrm>
          <a:prstGeom prst="roundRect">
            <a:avLst>
              <a:gd name="adj" fmla="val 8709"/>
            </a:avLst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9BF39-C4FA-6E30-FB91-D45BFD883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1204" y="6556933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83122B-678F-EF95-DAA8-DA6288098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196" y="400207"/>
            <a:ext cx="11476234" cy="732508"/>
          </a:xfrm>
        </p:spPr>
        <p:txBody>
          <a:bodyPr/>
          <a:lstStyle/>
          <a:p>
            <a:r>
              <a:rPr lang="en-US" sz="2800"/>
              <a:t>Business Case: </a:t>
            </a:r>
            <a:r>
              <a:rPr lang="en-US" sz="2800" err="1"/>
              <a:t>Icotrokinra</a:t>
            </a:r>
            <a:r>
              <a:rPr lang="en-US" sz="2800"/>
              <a:t> UC Ph3 program designed for </a:t>
            </a:r>
            <a:r>
              <a:rPr lang="en-US" sz="2800" b="1"/>
              <a:t>streamlined</a:t>
            </a:r>
            <a:r>
              <a:rPr lang="en-US" sz="2800"/>
              <a:t> approval, </a:t>
            </a:r>
            <a:r>
              <a:rPr lang="en-US" sz="2800" b="1"/>
              <a:t>speed to market </a:t>
            </a:r>
            <a:r>
              <a:rPr lang="en-US" sz="2800"/>
              <a:t>&amp;</a:t>
            </a:r>
            <a:r>
              <a:rPr lang="en-US" sz="2800" b="1"/>
              <a:t> optimal regulatory pack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AA33BEC-7F2C-7C7E-C9F7-0F59B22841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693467"/>
              </p:ext>
            </p:extLst>
          </p:nvPr>
        </p:nvGraphicFramePr>
        <p:xfrm>
          <a:off x="368321" y="1390108"/>
          <a:ext cx="11126669" cy="328817"/>
        </p:xfrm>
        <a:graphic>
          <a:graphicData uri="http://schemas.openxmlformats.org/drawingml/2006/table">
            <a:tbl>
              <a:tblPr firstRow="1" bandRow="1"/>
              <a:tblGrid>
                <a:gridCol w="1264059">
                  <a:extLst>
                    <a:ext uri="{9D8B030D-6E8A-4147-A177-3AD203B41FA5}">
                      <a16:colId xmlns:a16="http://schemas.microsoft.com/office/drawing/2014/main" val="2343664976"/>
                    </a:ext>
                  </a:extLst>
                </a:gridCol>
                <a:gridCol w="1264059">
                  <a:extLst>
                    <a:ext uri="{9D8B030D-6E8A-4147-A177-3AD203B41FA5}">
                      <a16:colId xmlns:a16="http://schemas.microsoft.com/office/drawing/2014/main" val="1334863437"/>
                    </a:ext>
                  </a:extLst>
                </a:gridCol>
                <a:gridCol w="1264059">
                  <a:extLst>
                    <a:ext uri="{9D8B030D-6E8A-4147-A177-3AD203B41FA5}">
                      <a16:colId xmlns:a16="http://schemas.microsoft.com/office/drawing/2014/main" val="3573360421"/>
                    </a:ext>
                  </a:extLst>
                </a:gridCol>
                <a:gridCol w="1264059">
                  <a:extLst>
                    <a:ext uri="{9D8B030D-6E8A-4147-A177-3AD203B41FA5}">
                      <a16:colId xmlns:a16="http://schemas.microsoft.com/office/drawing/2014/main" val="2902778246"/>
                    </a:ext>
                  </a:extLst>
                </a:gridCol>
                <a:gridCol w="1264059">
                  <a:extLst>
                    <a:ext uri="{9D8B030D-6E8A-4147-A177-3AD203B41FA5}">
                      <a16:colId xmlns:a16="http://schemas.microsoft.com/office/drawing/2014/main" val="3859301045"/>
                    </a:ext>
                  </a:extLst>
                </a:gridCol>
                <a:gridCol w="1060693">
                  <a:extLst>
                    <a:ext uri="{9D8B030D-6E8A-4147-A177-3AD203B41FA5}">
                      <a16:colId xmlns:a16="http://schemas.microsoft.com/office/drawing/2014/main" val="1860920309"/>
                    </a:ext>
                  </a:extLst>
                </a:gridCol>
                <a:gridCol w="1467425">
                  <a:extLst>
                    <a:ext uri="{9D8B030D-6E8A-4147-A177-3AD203B41FA5}">
                      <a16:colId xmlns:a16="http://schemas.microsoft.com/office/drawing/2014/main" val="958479438"/>
                    </a:ext>
                  </a:extLst>
                </a:gridCol>
                <a:gridCol w="1139128">
                  <a:extLst>
                    <a:ext uri="{9D8B030D-6E8A-4147-A177-3AD203B41FA5}">
                      <a16:colId xmlns:a16="http://schemas.microsoft.com/office/drawing/2014/main" val="3080179086"/>
                    </a:ext>
                  </a:extLst>
                </a:gridCol>
                <a:gridCol w="1139128">
                  <a:extLst>
                    <a:ext uri="{9D8B030D-6E8A-4147-A177-3AD203B41FA5}">
                      <a16:colId xmlns:a16="http://schemas.microsoft.com/office/drawing/2014/main" val="1018520691"/>
                    </a:ext>
                  </a:extLst>
                </a:gridCol>
              </a:tblGrid>
              <a:tr h="328817">
                <a:tc>
                  <a:txBody>
                    <a:bodyPr/>
                    <a:lstStyle>
                      <a:lvl1pPr marL="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564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9128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3693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8257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2821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73859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19502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6514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3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564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9128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3693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8257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2821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73859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19502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6514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4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564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9128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3693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8257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2821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73859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19502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6514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5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564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9128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36930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82573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2821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73859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19502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65146" algn="l" defTabSz="345643" rtl="0" eaLnBrk="1" latinLnBrk="0" hangingPunct="1">
                        <a:defRPr sz="132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6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7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8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9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2030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2031</a:t>
                      </a:r>
                      <a:endParaRPr lang="zh-CN" altLang="en-US" sz="1300" b="1">
                        <a:solidFill>
                          <a:schemeClr val="bg1"/>
                        </a:solidFill>
                        <a:latin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896365"/>
                  </a:ext>
                </a:extLst>
              </a:tr>
            </a:tbl>
          </a:graphicData>
        </a:graphic>
      </p:graphicFrame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A1A4A178-2A61-3500-31F3-18D6C6890233}"/>
              </a:ext>
            </a:extLst>
          </p:cNvPr>
          <p:cNvSpPr txBox="1">
            <a:spLocks/>
          </p:cNvSpPr>
          <p:nvPr/>
        </p:nvSpPr>
        <p:spPr>
          <a:xfrm>
            <a:off x="281432" y="6639913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HIGHLY CONFIDENTIAL – Do Not Distribute</a:t>
            </a:r>
          </a:p>
        </p:txBody>
      </p:sp>
      <p:sp>
        <p:nvSpPr>
          <p:cNvPr id="23" name="Rectangle: Rounded Corners 13">
            <a:extLst>
              <a:ext uri="{FF2B5EF4-FFF2-40B4-BE49-F238E27FC236}">
                <a16:creationId xmlns:a16="http://schemas.microsoft.com/office/drawing/2014/main" id="{CE71AE54-47F4-D913-D1FD-AC3EA78D7A50}"/>
              </a:ext>
            </a:extLst>
          </p:cNvPr>
          <p:cNvSpPr/>
          <p:nvPr/>
        </p:nvSpPr>
        <p:spPr bwMode="auto">
          <a:xfrm>
            <a:off x="1353356" y="1895938"/>
            <a:ext cx="1891649" cy="450282"/>
          </a:xfrm>
          <a:prstGeom prst="roundRect">
            <a:avLst>
              <a:gd name="adj" fmla="val 24765"/>
            </a:avLst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50" tIns="57150" rIns="57150" bIns="5715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5555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C Ph2b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ANTHEM)</a:t>
            </a:r>
          </a:p>
        </p:txBody>
      </p:sp>
      <p:sp>
        <p:nvSpPr>
          <p:cNvPr id="26" name="Rectangle: Rounded Corners 13">
            <a:extLst>
              <a:ext uri="{FF2B5EF4-FFF2-40B4-BE49-F238E27FC236}">
                <a16:creationId xmlns:a16="http://schemas.microsoft.com/office/drawing/2014/main" id="{640F56F2-BBBC-384F-EE38-AB1F849054C5}"/>
              </a:ext>
            </a:extLst>
          </p:cNvPr>
          <p:cNvSpPr/>
          <p:nvPr/>
        </p:nvSpPr>
        <p:spPr bwMode="auto">
          <a:xfrm>
            <a:off x="3929287" y="1897775"/>
            <a:ext cx="3430518" cy="450282"/>
          </a:xfrm>
          <a:prstGeom prst="roundRect">
            <a:avLst>
              <a:gd name="adj" fmla="val 24765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50" tIns="57150" rIns="57150" bIns="5715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5555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 UC Ph3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(ICONIC-UC)-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RWD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;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1 ind., 1 or 2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maint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. doses (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  <a:sym typeface="Symbol" panose="05050102010706020507" pitchFamily="18" charset="2"/>
              </a:rPr>
              <a:t>~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800) + adolescent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Rectangle: Rounded Corners 13">
            <a:extLst>
              <a:ext uri="{FF2B5EF4-FFF2-40B4-BE49-F238E27FC236}">
                <a16:creationId xmlns:a16="http://schemas.microsoft.com/office/drawing/2014/main" id="{969AE26F-3809-59EC-A3E3-A731FC418892}"/>
              </a:ext>
            </a:extLst>
          </p:cNvPr>
          <p:cNvSpPr/>
          <p:nvPr/>
        </p:nvSpPr>
        <p:spPr bwMode="auto">
          <a:xfrm>
            <a:off x="5481823" y="2458224"/>
            <a:ext cx="2569358" cy="462257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50" tIns="57150" rIns="57150" bIns="5715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5555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UC Ph3b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(</a:t>
            </a:r>
            <a:r>
              <a:rPr lang="en-US" sz="1200" b="1" kern="0">
                <a:latin typeface="Verdana"/>
                <a:ea typeface="Verdana"/>
                <a:cs typeface="Verdana" panose="020B0604030504040204" pitchFamily="34" charset="0"/>
              </a:rPr>
              <a:t>ICO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NIC-UC</a:t>
            </a:r>
            <a:r>
              <a:rPr lang="en-US" sz="1200" b="1" kern="0">
                <a:latin typeface="Verdana"/>
                <a:ea typeface="Verdana"/>
                <a:cs typeface="Verdana" panose="020B0604030504040204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H2H): </a:t>
            </a:r>
            <a:r>
              <a:rPr kumimoji="0" lang="en-US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  <a:cs typeface="Verdana" panose="020B0604030504040204" pitchFamily="34" charset="0"/>
              </a:rPr>
              <a:t>Open label</a:t>
            </a:r>
            <a:endParaRPr kumimoji="0" lang="en-US" sz="12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03DE996-CF0C-5454-97AA-53F060101D1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7508" y="2451188"/>
            <a:ext cx="365760" cy="36576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FE2A1A0-CCC6-AF54-7016-0D5F537D4F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8094" y="2451188"/>
            <a:ext cx="365760" cy="36576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9A37E0B0-4BA5-3AFD-D610-D04629FF3642}"/>
              </a:ext>
            </a:extLst>
          </p:cNvPr>
          <p:cNvGrpSpPr/>
          <p:nvPr/>
        </p:nvGrpSpPr>
        <p:grpSpPr>
          <a:xfrm>
            <a:off x="9147420" y="2436795"/>
            <a:ext cx="411480" cy="411480"/>
            <a:chOff x="8646159" y="3260558"/>
            <a:chExt cx="938463" cy="93846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2A47C9CC-67DC-D65B-D7A8-9E380C18CD40}"/>
                </a:ext>
              </a:extLst>
            </p:cNvPr>
            <p:cNvSpPr/>
            <p:nvPr/>
          </p:nvSpPr>
          <p:spPr>
            <a:xfrm>
              <a:off x="8646159" y="3260558"/>
              <a:ext cx="938463" cy="93846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6563CC7-B116-5D1E-87EE-19B1AB269F0F}"/>
                </a:ext>
              </a:extLst>
            </p:cNvPr>
            <p:cNvSpPr/>
            <p:nvPr/>
          </p:nvSpPr>
          <p:spPr>
            <a:xfrm>
              <a:off x="8929969" y="3544368"/>
              <a:ext cx="370841" cy="37084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endParaRPr>
            </a:p>
          </p:txBody>
        </p:sp>
      </p:grpSp>
      <p:sp>
        <p:nvSpPr>
          <p:cNvPr id="36" name="TextBox 27">
            <a:extLst>
              <a:ext uri="{FF2B5EF4-FFF2-40B4-BE49-F238E27FC236}">
                <a16:creationId xmlns:a16="http://schemas.microsoft.com/office/drawing/2014/main" id="{3588278D-4662-3163-3EA5-C24038269A50}"/>
              </a:ext>
            </a:extLst>
          </p:cNvPr>
          <p:cNvSpPr txBox="1"/>
          <p:nvPr/>
        </p:nvSpPr>
        <p:spPr>
          <a:xfrm>
            <a:off x="7613415" y="2875957"/>
            <a:ext cx="256935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US: </a:t>
            </a:r>
            <a:r>
              <a:rPr lang="en-US" sz="1100">
                <a:solidFill>
                  <a:srgbClr val="000000"/>
                </a:solidFill>
                <a:latin typeface="Johnson Text"/>
              </a:rPr>
              <a:t>Feb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’29; EU: </a:t>
            </a:r>
            <a:r>
              <a:rPr lang="en-US" sz="1100">
                <a:solidFill>
                  <a:srgbClr val="000000"/>
                </a:solidFill>
                <a:latin typeface="Johnson Text"/>
              </a:rPr>
              <a:t>May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’29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                    JP: </a:t>
            </a:r>
            <a:r>
              <a:rPr lang="en-US" sz="1100">
                <a:solidFill>
                  <a:srgbClr val="000000"/>
                </a:solidFill>
                <a:latin typeface="Johnson Text"/>
              </a:rPr>
              <a:t>J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’29</a:t>
            </a: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758FAF3D-ECE7-67CB-648A-D6E3A4EEE75D}"/>
              </a:ext>
            </a:extLst>
          </p:cNvPr>
          <p:cNvSpPr txBox="1">
            <a:spLocks/>
          </p:cNvSpPr>
          <p:nvPr/>
        </p:nvSpPr>
        <p:spPr>
          <a:xfrm>
            <a:off x="556944" y="3345569"/>
            <a:ext cx="5100756" cy="2942475"/>
          </a:xfrm>
          <a:prstGeom prst="rect">
            <a:avLst/>
          </a:prstGeom>
        </p:spPr>
        <p:txBody>
          <a:bodyPr vert="horz" lIns="0" tIns="0" rIns="0" bIns="0" rtlCol="0" anchor="t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7400" b="0" i="0" kern="1200">
                <a:solidFill>
                  <a:schemeClr val="tx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hase 3: </a:t>
            </a:r>
            <a:r>
              <a:rPr kumimoji="0" lang="en-US" sz="1900" b="1" i="0" u="sng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bO</a:t>
            </a:r>
            <a:r>
              <a:rPr kumimoji="0" lang="en-US" sz="1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controlled Registrational Trial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Fastest path to regulatory approval and supports acces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in major markets including US and Japa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Randomized withdraw design with 1 induction and 1 or 2 maintenance doses (TBD) based on ANTHEM-UC data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otential risk of regulators requiring testing two doses in maintenance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N= 800-900 depending on maintenance desig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NO Placebo cross-over in the primary analysis population of the ICO maintenance study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Induction study ends at Week 12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otential to increase 3-4 percentage points in week 52efficac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LTE duration extended to 4 years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upports  likely Regulatory PMR for post approval safety monitoring 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Long-term efficacy and safety are critical for position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Adolescents (12</a:t>
            </a:r>
            <a:r>
              <a:rPr lang="en-US" sz="1400" b="1">
                <a:solidFill>
                  <a:srgbClr val="000000"/>
                </a:solidFill>
                <a:latin typeface="Johnson Text"/>
              </a:rPr>
              <a:t>+yo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and </a:t>
            </a:r>
            <a:r>
              <a:rPr kumimoji="0" lang="en-US" sz="14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&gt;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40kg) inclusion 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</a:endParaRP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Unprecedent stand-alone cohort in a registrational trial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ingle arm study matching adult dose, independent of adult timeline indications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lt"/>
                <a:cs typeface="+mn-lt"/>
              </a:rPr>
              <a:t>Early pediatric indication ICO positioning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754EB77A-81B9-0777-3A85-B33C5274BEAC}"/>
              </a:ext>
            </a:extLst>
          </p:cNvPr>
          <p:cNvSpPr txBox="1">
            <a:spLocks/>
          </p:cNvSpPr>
          <p:nvPr/>
        </p:nvSpPr>
        <p:spPr>
          <a:xfrm>
            <a:off x="6323581" y="3320167"/>
            <a:ext cx="5415682" cy="253011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7400" b="0" i="0" kern="1200">
                <a:solidFill>
                  <a:schemeClr val="tx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Phase 3b: Direct Comparison Trial (H2H)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upports Access in key EU/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RoW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mark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H2H studies are infrequent in UC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uccess case: Vedolizumab demonstrated superiority over adalimumab 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B0604020202020204" pitchFamily="34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Abbvi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 has announced H2H vs vedolizumab (REVAMP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H2H is essential to position ICO as an early therapy in UC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Clinical superiority is a critical driver for medical ado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Clinical superiority will accelerate access strategy &amp; negotiation with pay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uperior efficacy is critical for clinical guideline recommend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Recruitment to start when Ph3 fully enrolled</a:t>
            </a:r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AEC778A0-FAF8-89FD-5FC1-B90485258D85}"/>
              </a:ext>
            </a:extLst>
          </p:cNvPr>
          <p:cNvSpPr/>
          <p:nvPr/>
        </p:nvSpPr>
        <p:spPr>
          <a:xfrm>
            <a:off x="4127383" y="1468073"/>
            <a:ext cx="402672" cy="250852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8598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31E605-5D30-6990-23A3-84F4D4D14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7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529F92-A761-83C7-9934-3B040E8BA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143829"/>
            <a:ext cx="9649446" cy="468590"/>
          </a:xfrm>
        </p:spPr>
        <p:txBody>
          <a:bodyPr/>
          <a:lstStyle/>
          <a:p>
            <a:r>
              <a:rPr lang="en-US"/>
              <a:t>Study Design</a:t>
            </a:r>
          </a:p>
        </p:txBody>
      </p:sp>
      <p:pic>
        <p:nvPicPr>
          <p:cNvPr id="2" name="Picture 1" descr="A graph of a patient&amp;#39;s period&#10;&#10;AI-generated content may be incorrect.">
            <a:extLst>
              <a:ext uri="{FF2B5EF4-FFF2-40B4-BE49-F238E27FC236}">
                <a16:creationId xmlns:a16="http://schemas.microsoft.com/office/drawing/2014/main" id="{0120AB6D-B394-8B26-C567-DC5A5914B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265" y="1133054"/>
            <a:ext cx="10794743" cy="4719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1008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DB36C-DAAB-B9B9-DE27-35B5629C4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5C51C3-99AF-2591-B86D-683831CA4E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8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DBFA57-AB7B-EC66-FC4C-F5F9F5015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143829"/>
            <a:ext cx="9649446" cy="468590"/>
          </a:xfrm>
        </p:spPr>
        <p:txBody>
          <a:bodyPr/>
          <a:lstStyle/>
          <a:p>
            <a:r>
              <a:rPr lang="en-US"/>
              <a:t>Key Inclusion Criteria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F7D7ECE-CA70-9D86-12A3-B9E34E5C32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335326"/>
              </p:ext>
            </p:extLst>
          </p:nvPr>
        </p:nvGraphicFramePr>
        <p:xfrm>
          <a:off x="288304" y="761670"/>
          <a:ext cx="11430454" cy="5547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454">
                  <a:extLst>
                    <a:ext uri="{9D8B030D-6E8A-4147-A177-3AD203B41FA5}">
                      <a16:colId xmlns:a16="http://schemas.microsoft.com/office/drawing/2014/main" val="1615481844"/>
                    </a:ext>
                  </a:extLst>
                </a:gridCol>
              </a:tblGrid>
              <a:tr h="442315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≥ 18 years of age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B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286026"/>
                  </a:ext>
                </a:extLst>
              </a:tr>
              <a:tr h="973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i="0" u="none" strike="noStrike" noProof="0">
                          <a:latin typeface="+mn-lt"/>
                        </a:rPr>
                        <a:t>Established UC (at least 12 weeks), modified Mayo 5-9 (central reading of screening video endoscopy), Mayo Endoscopic </a:t>
                      </a:r>
                      <a:r>
                        <a:rPr lang="en-US" sz="1400" b="0" i="0" u="none" strike="noStrike" noProof="0" err="1">
                          <a:latin typeface="+mn-lt"/>
                        </a:rPr>
                        <a:t>Subscore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 (MES) ≥2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i="0" u="none" strike="noStrike" noProof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i="0" u="none" strike="noStrike" noProof="0">
                          <a:latin typeface="+mn-lt"/>
                        </a:rPr>
                        <a:t>Participants with isolated proctitis will be capped at approximately 10% of the total participants enrolled. 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 sz="1400" b="0" i="0" u="none" strike="noStrike" noProof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0556390"/>
                  </a:ext>
                </a:extLst>
              </a:tr>
              <a:tr h="280629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000000"/>
                          </a:solidFill>
                          <a:highlight>
                            <a:srgbClr val="FBE7E7"/>
                          </a:highlight>
                          <a:latin typeface="+mn-lt"/>
                        </a:rPr>
                        <a:t>ADT-naïve: 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Demonstrated an inadequate response or failure to tolerate previous conventional therapy </a:t>
                      </a:r>
                      <a:r>
                        <a:rPr lang="en-US" sz="1400" b="0" i="0" u="none" strike="noStrike" noProof="0" err="1"/>
                        <a:t>ie</a:t>
                      </a:r>
                      <a:r>
                        <a:rPr lang="en-US" sz="1400" b="0" i="0" u="none" strike="noStrike" noProof="0"/>
                        <a:t>, 6‑MP, AZA, thioguanine, or corticosteroids (CS)] but are </a:t>
                      </a:r>
                      <a:r>
                        <a:rPr lang="en-US" sz="1400" b="0" i="1" u="none" strike="noStrike" noProof="0"/>
                        <a:t>naïve to advanced therapies (approved or investigational therapies)</a:t>
                      </a:r>
                    </a:p>
                    <a:p>
                      <a:pPr lvl="0">
                        <a:buNone/>
                      </a:pPr>
                      <a:endParaRPr lang="en-US" sz="1400" i="1"/>
                    </a:p>
                    <a:p>
                      <a:pPr lvl="0"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ADT-IR: 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inadequate response (</a:t>
                      </a:r>
                      <a:r>
                        <a:rPr lang="en-US" sz="1400" b="0" i="0" u="none" strike="noStrike" noProof="0" err="1">
                          <a:latin typeface="+mn-lt"/>
                        </a:rPr>
                        <a:t>ie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 primary or secondary nonresponse) or failure to tolerate advanced therapy defined as biologics and/or advanced oral agents </a:t>
                      </a:r>
                      <a:r>
                        <a:rPr lang="en-US" sz="1400" b="0" i="1" u="none" strike="noStrike" noProof="0">
                          <a:latin typeface="+mn-lt"/>
                        </a:rPr>
                        <a:t>approved for the treatment of UC in the country of use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, including:</a:t>
                      </a:r>
                      <a:endParaRPr lang="en-US" sz="1400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 u="none" strike="noStrike" noProof="0">
                          <a:latin typeface="+mn-lt"/>
                        </a:rPr>
                        <a:t> </a:t>
                      </a:r>
                      <a:r>
                        <a:rPr lang="en-US" sz="1400" b="0" i="0" u="none" strike="noStrike" noProof="0">
                          <a:latin typeface="+mn-lt"/>
                        </a:rPr>
                        <a:t>Anti - TNFα antibodies, Anti-interleukin 12/23(p40) antibodies, JAK inhibitors, S1P receptor modulators, or their biosimilars</a:t>
                      </a:r>
                    </a:p>
                    <a:p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The proportion of participants with inadequate response (</a:t>
                      </a:r>
                      <a:r>
                        <a:rPr lang="en-US" sz="12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mary or secondary nonresponse) or intolerance to ≥3 approved advanced therapies (agents, not number of classes) as listed above (in biologic or oral advanced therapies section) will be limited to 15% of the ADT-IR population. 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The number of participants with inadequate response (</a:t>
                      </a:r>
                      <a:r>
                        <a:rPr lang="en-US" sz="12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mary or secondary nonresponse) or intolerance to </a:t>
                      </a:r>
                      <a:r>
                        <a:rPr lang="en-US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-interleukin 12/23(p40) (</a:t>
                      </a: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tekinumab) will be capped at 20% of the ADT-IR population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noProof="0">
                        <a:latin typeface="+mn-lt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5122764"/>
                  </a:ext>
                </a:extLst>
              </a:tr>
              <a:tr h="6192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noProof="0">
                          <a:latin typeface="+mn-lt"/>
                          <a:cs typeface="Arial"/>
                        </a:rPr>
                        <a:t>Must adhere to protocol requirements for oral 5-ASA, corticosteroids, immunomodulators (stable dosing or discontinuation prior to baseline (Week 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noProof="0">
                        <a:latin typeface="+mn-lt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131558"/>
                  </a:ext>
                </a:extLst>
              </a:tr>
              <a:tr h="4423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noProof="0">
                          <a:latin typeface="+mn-lt"/>
                          <a:cs typeface="Arial"/>
                        </a:rPr>
                        <a:t>Stable dose of GLP-1 agonist for at least 4 weeks prior to baseline (Week 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noProof="0">
                        <a:latin typeface="+mn-lt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177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1971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22A6CB-64CE-9590-80A6-84CB2035ED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E085B2-F5A4-37E3-EA5A-C30F8FC38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9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3BBBB2-AD29-6226-DB43-DF4F4D69A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143829"/>
            <a:ext cx="9649446" cy="468590"/>
          </a:xfrm>
        </p:spPr>
        <p:txBody>
          <a:bodyPr/>
          <a:lstStyle/>
          <a:p>
            <a:r>
              <a:rPr lang="en-US"/>
              <a:t>Key Exclusion Criteria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48B3AD4-26D7-380B-CC50-83794373E8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821521"/>
              </p:ext>
            </p:extLst>
          </p:nvPr>
        </p:nvGraphicFramePr>
        <p:xfrm>
          <a:off x="288304" y="1122947"/>
          <a:ext cx="11249980" cy="3985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49980">
                  <a:extLst>
                    <a:ext uri="{9D8B030D-6E8A-4147-A177-3AD203B41FA5}">
                      <a16:colId xmlns:a16="http://schemas.microsoft.com/office/drawing/2014/main" val="3671573555"/>
                    </a:ext>
                  </a:extLst>
                </a:gridCol>
              </a:tblGrid>
              <a:tr h="786763"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Disease characteristics: Severe UC that might require colonic surgery. Fistulae or strictures. Recent &lt; 24 weeks colonic resection. High- or low-grade colonic mucosal dysplasia. </a:t>
                      </a:r>
                    </a:p>
                  </a:txBody>
                  <a:tcPr>
                    <a:solidFill>
                      <a:srgbClr val="FB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859984"/>
                  </a:ext>
                </a:extLst>
              </a:tr>
              <a:tr h="609107">
                <a:tc>
                  <a:txBody>
                    <a:bodyPr/>
                    <a:lstStyle/>
                    <a:p>
                      <a:r>
                        <a:rPr lang="en-US" sz="1400"/>
                        <a:t>Infections or Predisposition to Infections: C.diff (must have negative stool testing prior to randomization if treated), active TB or untreated latent TB, HIV+, HBV+, HCV+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5321313"/>
                  </a:ext>
                </a:extLst>
              </a:tr>
              <a:tr h="609107">
                <a:tc>
                  <a:txBody>
                    <a:bodyPr/>
                    <a:lstStyle/>
                    <a:p>
                      <a:r>
                        <a:rPr lang="en-US" sz="1400"/>
                        <a:t>Malignancies: &lt; 5 years (except non-melanoma skin cancer, cervical carcinoma).</a:t>
                      </a:r>
                    </a:p>
                    <a:p>
                      <a:pPr lvl="0">
                        <a:buNone/>
                      </a:pPr>
                      <a:r>
                        <a:rPr lang="en-US" sz="1400"/>
                        <a:t>All lymphoproliferative disorder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0082386"/>
                  </a:ext>
                </a:extLst>
              </a:tr>
              <a:tr h="60910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latin typeface="Johnson Text"/>
                        </a:rPr>
                        <a:t>Mental Health: Suicidal ideation, suicidal behavior in the last 6 months. Drug (no marijuana) or alcohol abuse in the past year. </a:t>
                      </a:r>
                      <a:endParaRPr lang="en-US" sz="2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49028"/>
                  </a:ext>
                </a:extLst>
              </a:tr>
              <a:tr h="1370496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0" i="0" u="none" strike="noStrike" baseline="0" noProof="0">
                          <a:solidFill>
                            <a:srgbClr val="000000"/>
                          </a:solidFill>
                          <a:latin typeface="Johnson Text"/>
                        </a:rPr>
                        <a:t>Prior/Concomitant Therapy: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prior exposure to compound targeting IL-23p19, including but not limited to,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selkumab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ikizumab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or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ankizumab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or the IL-23R (including but not limited to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otrokinra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prior exposure to compound targeting integrins, including but not limited to vedolizumab.</a:t>
                      </a:r>
                      <a:endParaRPr lang="en-US" sz="200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 compounds such as rectal 5-ASA/corticosteroids, immunosuppressant therapies, JAK inhibitors, S1P receptor modulators and biologic agents (anti- </a:t>
                      </a:r>
                      <a:r>
                        <a:rPr lang="en-US" sz="14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Johnson Text"/>
                          <a:ea typeface="+mn-ea"/>
                          <a:cs typeface="+mn-cs"/>
                        </a:rPr>
                        <a:t>TNFα antibodies, Anti-interleukin 12/23(p40) antibodies) </a:t>
                      </a: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t follow protocol specified washout periods.</a:t>
                      </a:r>
                      <a:endParaRPr lang="en-US" sz="2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6941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6156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-InnovativeMedicine_v7-1" id="{F44CE3B2-36AE-2B4F-8403-8D05A61D0CA7}" vid="{49CFE79D-9423-E244-8BEC-0DDFD8475C02}"/>
    </a:ext>
  </a:extLst>
</a:theme>
</file>

<file path=ppt/theme/theme2.xml><?xml version="1.0" encoding="utf-8"?>
<a:theme xmlns:a="http://schemas.openxmlformats.org/drawingml/2006/main" name="8_Johnson and Johnson">
  <a:themeElements>
    <a:clrScheme name="JNJ IM Global Dev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81766F"/>
      </a:accent1>
      <a:accent2>
        <a:srgbClr val="A39992"/>
      </a:accent2>
      <a:accent3>
        <a:srgbClr val="C1BBB3"/>
      </a:accent3>
      <a:accent4>
        <a:srgbClr val="004685"/>
      </a:accent4>
      <a:accent5>
        <a:srgbClr val="0F68B2"/>
      </a:accent5>
      <a:accent6>
        <a:srgbClr val="5B1285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-InnovativeMedicine_R4_v4" id="{A8B257DD-B64D-5249-90B8-EAD6F145D408}" vid="{83F01571-67C4-E642-BABA-B54456E121F5}"/>
    </a:ext>
  </a:extLst>
</a:theme>
</file>

<file path=ppt/theme/theme3.xml><?xml version="1.0" encoding="utf-8"?>
<a:theme xmlns:a="http://schemas.openxmlformats.org/drawingml/2006/main" name="1_Johnson and Johnson">
  <a:themeElements>
    <a:clrScheme name="JNJ IM Global Dev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81766F"/>
      </a:accent1>
      <a:accent2>
        <a:srgbClr val="A39992"/>
      </a:accent2>
      <a:accent3>
        <a:srgbClr val="C1BBB3"/>
      </a:accent3>
      <a:accent4>
        <a:srgbClr val="004685"/>
      </a:accent4>
      <a:accent5>
        <a:srgbClr val="0F68B2"/>
      </a:accent5>
      <a:accent6>
        <a:srgbClr val="5B1285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-InnovativeMedicine_R4_v4" id="{A8B257DD-B64D-5249-90B8-EAD6F145D408}" vid="{83F01571-67C4-E642-BABA-B54456E121F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4C067EB89B0943B3D8D8A372E52C9B" ma:contentTypeVersion="3" ma:contentTypeDescription="Create a new document." ma:contentTypeScope="" ma:versionID="1ef9578862bbd948241f077fa8879a6b">
  <xsd:schema xmlns:xsd="http://www.w3.org/2001/XMLSchema" xmlns:xs="http://www.w3.org/2001/XMLSchema" xmlns:p="http://schemas.microsoft.com/office/2006/metadata/properties" xmlns:ns2="7dc09b0f-1d7d-4d52-9890-ad29e217ce11" targetNamespace="http://schemas.microsoft.com/office/2006/metadata/properties" ma:root="true" ma:fieldsID="5a01ae039b5b67a99282a99ca9e2b5ff" ns2:_="">
    <xsd:import namespace="7dc09b0f-1d7d-4d52-9890-ad29e217ce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c09b0f-1d7d-4d52-9890-ad29e217ce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CBEBCF4-4977-4063-A69E-3492E30E82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87567A-956E-46E2-8EB7-1CF20FF36EBB}"/>
</file>

<file path=customXml/itemProps3.xml><?xml version="1.0" encoding="utf-8"?>
<ds:datastoreItem xmlns:ds="http://schemas.openxmlformats.org/officeDocument/2006/customXml" ds:itemID="{DE68D459-DC3F-40DF-8773-788A7CEEDDA5}">
  <ds:schemaRefs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7dc09b0f-1d7d-4d52-9890-ad29e217ce11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76</Words>
  <Application>Microsoft Office PowerPoint</Application>
  <PresentationFormat>Widescreen</PresentationFormat>
  <Paragraphs>691</Paragraphs>
  <Slides>2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ptos</vt:lpstr>
      <vt:lpstr>Arial</vt:lpstr>
      <vt:lpstr>Calibri</vt:lpstr>
      <vt:lpstr>Courier New</vt:lpstr>
      <vt:lpstr>Johnson Display</vt:lpstr>
      <vt:lpstr>Johnson Display Light</vt:lpstr>
      <vt:lpstr>Johnson Text</vt:lpstr>
      <vt:lpstr>Times New Roman</vt:lpstr>
      <vt:lpstr>Verdana</vt:lpstr>
      <vt:lpstr>Wingdings</vt:lpstr>
      <vt:lpstr>Johnson and Johnson: Innovative Medicine</vt:lpstr>
      <vt:lpstr>8_Johnson and Johnson</vt:lpstr>
      <vt:lpstr>1_Johnson and Johnson</vt:lpstr>
      <vt:lpstr>think-cell Slide</vt:lpstr>
      <vt:lpstr>ICONIC Phase 3 UC H2H  Program Update and Country Outreach  09April2026</vt:lpstr>
      <vt:lpstr>Agenda</vt:lpstr>
      <vt:lpstr>ICONIC Phase 3 UC H2H: Central Team</vt:lpstr>
      <vt:lpstr>Welcome!</vt:lpstr>
      <vt:lpstr>Executive Summary</vt:lpstr>
      <vt:lpstr>Business Case: Icotrokinra UC Ph3 program designed for streamlined approval, speed to market &amp; optimal regulatory package</vt:lpstr>
      <vt:lpstr>Study Design</vt:lpstr>
      <vt:lpstr>Key Inclusion Criteria</vt:lpstr>
      <vt:lpstr>Key Exclusion Criteria</vt:lpstr>
      <vt:lpstr>Ideal Site Profile</vt:lpstr>
      <vt:lpstr>Latest Assumptions on ICONIC UC H2H Trial</vt:lpstr>
      <vt:lpstr>UC H2H benchmarks: Review </vt:lpstr>
      <vt:lpstr>Summary of expectations</vt:lpstr>
      <vt:lpstr>Country Selection Criteria </vt:lpstr>
      <vt:lpstr>Country Outreach list</vt:lpstr>
      <vt:lpstr>Country Considerations requiring GCO Feedback</vt:lpstr>
      <vt:lpstr>Next Steps</vt:lpstr>
      <vt:lpstr>Questions?</vt:lpstr>
      <vt:lpstr>Back up</vt:lpstr>
      <vt:lpstr>PowerPoint Presentation</vt:lpstr>
      <vt:lpstr>Benchmark insights: Phase 2/3 and 3 UC Industry Sponsored Trials, last 5 years, N=16</vt:lpstr>
      <vt:lpstr>IBD External Competitive Landscape</vt:lpstr>
      <vt:lpstr>PowerPoint Presentation</vt:lpstr>
    </vt:vector>
  </TitlesOfParts>
  <Company>JnJ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ullivan, Elizabeth   [JRDUS]</dc:creator>
  <cp:lastModifiedBy>Salgado, Maria joão [JACPT]</cp:lastModifiedBy>
  <cp:revision>2</cp:revision>
  <dcterms:created xsi:type="dcterms:W3CDTF">2026-03-12T13:15:52Z</dcterms:created>
  <dcterms:modified xsi:type="dcterms:W3CDTF">2026-05-14T14:1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4C067EB89B0943B3D8D8A372E52C9B</vt:lpwstr>
  </property>
</Properties>
</file>